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diagrams/quickStyle4.xml" ContentType="application/vnd.openxmlformats-officedocument.drawingml.diagramStyle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diagrams/layout4.xml" ContentType="application/vnd.openxmlformats-officedocument.drawingml.diagramLayout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Default Extension="emf" ContentType="image/x-emf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bookmarkIdSeed="2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56" r:id="rId5"/>
    <p:sldId id="291" r:id="rId6"/>
    <p:sldId id="300" r:id="rId7"/>
    <p:sldId id="301" r:id="rId8"/>
    <p:sldId id="298" r:id="rId9"/>
    <p:sldId id="296" r:id="rId10"/>
    <p:sldId id="297" r:id="rId11"/>
    <p:sldId id="299" r:id="rId12"/>
    <p:sldId id="289" r:id="rId13"/>
  </p:sldIdLst>
  <p:sldSz cx="9906000" cy="6858000" type="A4"/>
  <p:notesSz cx="7099300" cy="10234613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8710E"/>
    <a:srgbClr val="E85426"/>
    <a:srgbClr val="E6F5FA"/>
    <a:srgbClr val="8F143B"/>
    <a:srgbClr val="004B66"/>
    <a:srgbClr val="BBAE78"/>
    <a:srgbClr val="DED7BC"/>
    <a:srgbClr val="699419"/>
    <a:srgbClr val="B5CA8D"/>
    <a:srgbClr val="9F9466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58" autoAdjust="0"/>
    <p:restoredTop sz="99499" autoAdjust="0"/>
  </p:normalViewPr>
  <p:slideViewPr>
    <p:cSldViewPr snapToObjects="1">
      <p:cViewPr varScale="1">
        <p:scale>
          <a:sx n="73" d="100"/>
          <a:sy n="73" d="100"/>
        </p:scale>
        <p:origin x="-1200" y="-90"/>
      </p:cViewPr>
      <p:guideLst>
        <p:guide orient="horz" pos="786"/>
        <p:guide orient="horz" pos="3929"/>
        <p:guide orient="horz" pos="3665"/>
        <p:guide pos="3075"/>
        <p:guide pos="129"/>
        <p:guide pos="6114"/>
        <p:guide pos="317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51" d="100"/>
          <a:sy n="51" d="100"/>
        </p:scale>
        <p:origin x="-2616" y="-84"/>
      </p:cViewPr>
      <p:guideLst>
        <p:guide orient="horz" pos="3223"/>
        <p:guide pos="2236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C61867E-3476-44E4-8336-F86D2C7575A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DD2A6AA2-0001-4C68-9272-ACF8A8703870}">
      <dgm:prSet custT="1"/>
      <dgm:spPr/>
      <dgm:t>
        <a:bodyPr/>
        <a:lstStyle/>
        <a:p>
          <a:pPr rtl="0"/>
          <a:r>
            <a:rPr lang="en-US" sz="1600" b="1" dirty="0" smtClean="0"/>
            <a:t>Dev Test </a:t>
          </a:r>
          <a:endParaRPr lang="en-US" sz="1600" b="1" dirty="0"/>
        </a:p>
      </dgm:t>
    </dgm:pt>
    <dgm:pt modelId="{ED92B1FC-1599-4484-9B4E-335E9C891D2D}" type="parTrans" cxnId="{AE9DAD13-8F37-4A14-BCA9-D00A76C9244B}">
      <dgm:prSet/>
      <dgm:spPr/>
      <dgm:t>
        <a:bodyPr/>
        <a:lstStyle/>
        <a:p>
          <a:endParaRPr lang="en-US"/>
        </a:p>
      </dgm:t>
    </dgm:pt>
    <dgm:pt modelId="{BE00A630-E259-4AF1-B732-93D0A799FA37}" type="sibTrans" cxnId="{AE9DAD13-8F37-4A14-BCA9-D00A76C9244B}">
      <dgm:prSet/>
      <dgm:spPr/>
      <dgm:t>
        <a:bodyPr/>
        <a:lstStyle/>
        <a:p>
          <a:endParaRPr lang="en-US"/>
        </a:p>
      </dgm:t>
    </dgm:pt>
    <dgm:pt modelId="{5D6CA0FA-EA69-40A3-9311-600297C825DC}" type="pres">
      <dgm:prSet presAssocID="{DC61867E-3476-44E4-8336-F86D2C7575A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F6E5557-98B3-4D8C-8B4D-F0C3A8965B17}" type="pres">
      <dgm:prSet presAssocID="{DD2A6AA2-0001-4C68-9272-ACF8A8703870}" presName="parentText" presStyleLbl="node1" presStyleIdx="0" presStyleCnt="1" custLinFactNeighborX="-30114" custLinFactNeighborY="60491">
        <dgm:presLayoutVars>
          <dgm:chMax val="0"/>
          <dgm:bulletEnabled val="1"/>
        </dgm:presLayoutVars>
      </dgm:prSet>
      <dgm:spPr>
        <a:prstGeom prst="teardrop">
          <a:avLst/>
        </a:prstGeom>
      </dgm:spPr>
      <dgm:t>
        <a:bodyPr/>
        <a:lstStyle/>
        <a:p>
          <a:endParaRPr lang="en-US"/>
        </a:p>
      </dgm:t>
    </dgm:pt>
  </dgm:ptLst>
  <dgm:cxnLst>
    <dgm:cxn modelId="{BE1F7A56-0835-4DE3-BE30-E1E80C67D120}" type="presOf" srcId="{DC61867E-3476-44E4-8336-F86D2C7575AE}" destId="{5D6CA0FA-EA69-40A3-9311-600297C825DC}" srcOrd="0" destOrd="0" presId="urn:microsoft.com/office/officeart/2005/8/layout/vList2"/>
    <dgm:cxn modelId="{AE9DAD13-8F37-4A14-BCA9-D00A76C9244B}" srcId="{DC61867E-3476-44E4-8336-F86D2C7575AE}" destId="{DD2A6AA2-0001-4C68-9272-ACF8A8703870}" srcOrd="0" destOrd="0" parTransId="{ED92B1FC-1599-4484-9B4E-335E9C891D2D}" sibTransId="{BE00A630-E259-4AF1-B732-93D0A799FA37}"/>
    <dgm:cxn modelId="{F80C032B-4F37-4427-908F-7A29F442678C}" type="presOf" srcId="{DD2A6AA2-0001-4C68-9272-ACF8A8703870}" destId="{EF6E5557-98B3-4D8C-8B4D-F0C3A8965B17}" srcOrd="0" destOrd="0" presId="urn:microsoft.com/office/officeart/2005/8/layout/vList2"/>
    <dgm:cxn modelId="{FFFFFB81-7C56-487D-8F44-A03F2E8DD1FD}" type="presParOf" srcId="{5D6CA0FA-EA69-40A3-9311-600297C825DC}" destId="{EF6E5557-98B3-4D8C-8B4D-F0C3A8965B17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48A2DE5-0F8A-4C4C-AE7F-DE10C5B1FD46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0F7D352-53EE-4FA3-A4B0-68EFB644BF31}">
      <dgm:prSet custT="1"/>
      <dgm:spPr/>
      <dgm:t>
        <a:bodyPr/>
        <a:lstStyle/>
        <a:p>
          <a:pPr rtl="0"/>
          <a:r>
            <a:rPr lang="en-US" sz="1400" b="1" dirty="0" smtClean="0"/>
            <a:t>User Test </a:t>
          </a:r>
          <a:endParaRPr lang="en-US" sz="1400" b="1" dirty="0"/>
        </a:p>
      </dgm:t>
    </dgm:pt>
    <dgm:pt modelId="{38440529-2090-4A35-92E2-4A2A58D51B91}" type="parTrans" cxnId="{3E2CE09F-F1AE-4C94-AF3B-095579CCBC3A}">
      <dgm:prSet/>
      <dgm:spPr/>
      <dgm:t>
        <a:bodyPr/>
        <a:lstStyle/>
        <a:p>
          <a:endParaRPr lang="en-US"/>
        </a:p>
      </dgm:t>
    </dgm:pt>
    <dgm:pt modelId="{D8DE2A49-F07A-4BE0-BF6E-3956C318E52A}" type="sibTrans" cxnId="{3E2CE09F-F1AE-4C94-AF3B-095579CCBC3A}">
      <dgm:prSet/>
      <dgm:spPr/>
      <dgm:t>
        <a:bodyPr/>
        <a:lstStyle/>
        <a:p>
          <a:endParaRPr lang="en-US"/>
        </a:p>
      </dgm:t>
    </dgm:pt>
    <dgm:pt modelId="{F51214CD-2035-48E4-888A-E569FA5CE567}" type="pres">
      <dgm:prSet presAssocID="{748A2DE5-0F8A-4C4C-AE7F-DE10C5B1FD4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D5C1E40-95C5-45A9-90A0-0B1E2BFE4C85}" type="pres">
      <dgm:prSet presAssocID="{70F7D352-53EE-4FA3-A4B0-68EFB644BF31}" presName="parentText" presStyleLbl="node1" presStyleIdx="0" presStyleCnt="1" custFlipHor="1" custScaleY="70270" custLinFactNeighborX="18182" custLinFactNeighborY="35741">
        <dgm:presLayoutVars>
          <dgm:chMax val="0"/>
          <dgm:bulletEnabled val="1"/>
        </dgm:presLayoutVars>
      </dgm:prSet>
      <dgm:spPr>
        <a:prstGeom prst="teardrop">
          <a:avLst/>
        </a:prstGeom>
      </dgm:spPr>
      <dgm:t>
        <a:bodyPr/>
        <a:lstStyle/>
        <a:p>
          <a:endParaRPr lang="en-US"/>
        </a:p>
      </dgm:t>
    </dgm:pt>
  </dgm:ptLst>
  <dgm:cxnLst>
    <dgm:cxn modelId="{36CDE73D-F0E9-48EB-B22B-44AFAAF42B4B}" type="presOf" srcId="{748A2DE5-0F8A-4C4C-AE7F-DE10C5B1FD46}" destId="{F51214CD-2035-48E4-888A-E569FA5CE567}" srcOrd="0" destOrd="0" presId="urn:microsoft.com/office/officeart/2005/8/layout/vList2"/>
    <dgm:cxn modelId="{3E2CE09F-F1AE-4C94-AF3B-095579CCBC3A}" srcId="{748A2DE5-0F8A-4C4C-AE7F-DE10C5B1FD46}" destId="{70F7D352-53EE-4FA3-A4B0-68EFB644BF31}" srcOrd="0" destOrd="0" parTransId="{38440529-2090-4A35-92E2-4A2A58D51B91}" sibTransId="{D8DE2A49-F07A-4BE0-BF6E-3956C318E52A}"/>
    <dgm:cxn modelId="{0906B2AF-369D-47FC-8CF8-C4D15298F789}" type="presOf" srcId="{70F7D352-53EE-4FA3-A4B0-68EFB644BF31}" destId="{ED5C1E40-95C5-45A9-90A0-0B1E2BFE4C85}" srcOrd="0" destOrd="0" presId="urn:microsoft.com/office/officeart/2005/8/layout/vList2"/>
    <dgm:cxn modelId="{EE1533C4-1373-4A94-B9EE-7EA11D70D079}" type="presParOf" srcId="{F51214CD-2035-48E4-888A-E569FA5CE567}" destId="{ED5C1E40-95C5-45A9-90A0-0B1E2BFE4C8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48A2DE5-0F8A-4C4C-AE7F-DE10C5B1FD46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0F7D352-53EE-4FA3-A4B0-68EFB644BF31}">
      <dgm:prSet custT="1"/>
      <dgm:spPr/>
      <dgm:t>
        <a:bodyPr/>
        <a:lstStyle/>
        <a:p>
          <a:pPr rtl="0"/>
          <a:r>
            <a:rPr lang="en-US" sz="1400" b="1" dirty="0" smtClean="0"/>
            <a:t>Non function Test </a:t>
          </a:r>
          <a:endParaRPr lang="en-US" sz="1400" b="1" dirty="0"/>
        </a:p>
      </dgm:t>
    </dgm:pt>
    <dgm:pt modelId="{38440529-2090-4A35-92E2-4A2A58D51B91}" type="parTrans" cxnId="{3E2CE09F-F1AE-4C94-AF3B-095579CCBC3A}">
      <dgm:prSet/>
      <dgm:spPr/>
      <dgm:t>
        <a:bodyPr/>
        <a:lstStyle/>
        <a:p>
          <a:endParaRPr lang="en-US"/>
        </a:p>
      </dgm:t>
    </dgm:pt>
    <dgm:pt modelId="{D8DE2A49-F07A-4BE0-BF6E-3956C318E52A}" type="sibTrans" cxnId="{3E2CE09F-F1AE-4C94-AF3B-095579CCBC3A}">
      <dgm:prSet/>
      <dgm:spPr/>
      <dgm:t>
        <a:bodyPr/>
        <a:lstStyle/>
        <a:p>
          <a:endParaRPr lang="en-US"/>
        </a:p>
      </dgm:t>
    </dgm:pt>
    <dgm:pt modelId="{F51214CD-2035-48E4-888A-E569FA5CE567}" type="pres">
      <dgm:prSet presAssocID="{748A2DE5-0F8A-4C4C-AE7F-DE10C5B1FD4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D5C1E40-95C5-45A9-90A0-0B1E2BFE4C85}" type="pres">
      <dgm:prSet presAssocID="{70F7D352-53EE-4FA3-A4B0-68EFB644BF31}" presName="parentText" presStyleLbl="node1" presStyleIdx="0" presStyleCnt="1" custFlipHor="1" custScaleY="70270" custLinFactNeighborX="-30761" custLinFactNeighborY="-35135">
        <dgm:presLayoutVars>
          <dgm:chMax val="0"/>
          <dgm:bulletEnabled val="1"/>
        </dgm:presLayoutVars>
      </dgm:prSet>
      <dgm:spPr>
        <a:prstGeom prst="teardrop">
          <a:avLst/>
        </a:prstGeom>
      </dgm:spPr>
      <dgm:t>
        <a:bodyPr/>
        <a:lstStyle/>
        <a:p>
          <a:endParaRPr lang="en-US"/>
        </a:p>
      </dgm:t>
    </dgm:pt>
  </dgm:ptLst>
  <dgm:cxnLst>
    <dgm:cxn modelId="{3E2CE09F-F1AE-4C94-AF3B-095579CCBC3A}" srcId="{748A2DE5-0F8A-4C4C-AE7F-DE10C5B1FD46}" destId="{70F7D352-53EE-4FA3-A4B0-68EFB644BF31}" srcOrd="0" destOrd="0" parTransId="{38440529-2090-4A35-92E2-4A2A58D51B91}" sibTransId="{D8DE2A49-F07A-4BE0-BF6E-3956C318E52A}"/>
    <dgm:cxn modelId="{A78810D8-47A3-40FF-BEA4-3C218B7676EF}" type="presOf" srcId="{70F7D352-53EE-4FA3-A4B0-68EFB644BF31}" destId="{ED5C1E40-95C5-45A9-90A0-0B1E2BFE4C85}" srcOrd="0" destOrd="0" presId="urn:microsoft.com/office/officeart/2005/8/layout/vList2"/>
    <dgm:cxn modelId="{C05A71A1-08FC-4D76-8CEF-ACAE56524BB2}" type="presOf" srcId="{748A2DE5-0F8A-4C4C-AE7F-DE10C5B1FD46}" destId="{F51214CD-2035-48E4-888A-E569FA5CE567}" srcOrd="0" destOrd="0" presId="urn:microsoft.com/office/officeart/2005/8/layout/vList2"/>
    <dgm:cxn modelId="{50AAB479-BFDE-487F-97D1-0B201B111248}" type="presParOf" srcId="{F51214CD-2035-48E4-888A-E569FA5CE567}" destId="{ED5C1E40-95C5-45A9-90A0-0B1E2BFE4C8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C61867E-3476-44E4-8336-F86D2C7575A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D2A6AA2-0001-4C68-9272-ACF8A8703870}">
      <dgm:prSet custT="1"/>
      <dgm:spPr/>
      <dgm:t>
        <a:bodyPr/>
        <a:lstStyle/>
        <a:p>
          <a:pPr rtl="0"/>
          <a:r>
            <a:rPr lang="en-US" sz="1600" b="1" dirty="0" smtClean="0"/>
            <a:t>Test </a:t>
          </a:r>
          <a:endParaRPr lang="en-US" sz="1600" b="1" dirty="0"/>
        </a:p>
      </dgm:t>
    </dgm:pt>
    <dgm:pt modelId="{ED92B1FC-1599-4484-9B4E-335E9C891D2D}" type="parTrans" cxnId="{AE9DAD13-8F37-4A14-BCA9-D00A76C9244B}">
      <dgm:prSet/>
      <dgm:spPr/>
      <dgm:t>
        <a:bodyPr/>
        <a:lstStyle/>
        <a:p>
          <a:endParaRPr lang="en-US"/>
        </a:p>
      </dgm:t>
    </dgm:pt>
    <dgm:pt modelId="{BE00A630-E259-4AF1-B732-93D0A799FA37}" type="sibTrans" cxnId="{AE9DAD13-8F37-4A14-BCA9-D00A76C9244B}">
      <dgm:prSet/>
      <dgm:spPr/>
      <dgm:t>
        <a:bodyPr/>
        <a:lstStyle/>
        <a:p>
          <a:endParaRPr lang="en-US"/>
        </a:p>
      </dgm:t>
    </dgm:pt>
    <dgm:pt modelId="{5D6CA0FA-EA69-40A3-9311-600297C825DC}" type="pres">
      <dgm:prSet presAssocID="{DC61867E-3476-44E4-8336-F86D2C7575A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F6E5557-98B3-4D8C-8B4D-F0C3A8965B17}" type="pres">
      <dgm:prSet presAssocID="{DD2A6AA2-0001-4C68-9272-ACF8A8703870}" presName="parentText" presStyleLbl="node1" presStyleIdx="0" presStyleCnt="1" custLinFactNeighborX="9091" custLinFactNeighborY="-50881">
        <dgm:presLayoutVars>
          <dgm:chMax val="0"/>
          <dgm:bulletEnabled val="1"/>
        </dgm:presLayoutVars>
      </dgm:prSet>
      <dgm:spPr>
        <a:prstGeom prst="teardrop">
          <a:avLst/>
        </a:prstGeom>
      </dgm:spPr>
      <dgm:t>
        <a:bodyPr/>
        <a:lstStyle/>
        <a:p>
          <a:endParaRPr lang="en-US"/>
        </a:p>
      </dgm:t>
    </dgm:pt>
  </dgm:ptLst>
  <dgm:cxnLst>
    <dgm:cxn modelId="{8052014B-AD1C-4D9D-B8B9-267E3C39151A}" type="presOf" srcId="{DD2A6AA2-0001-4C68-9272-ACF8A8703870}" destId="{EF6E5557-98B3-4D8C-8B4D-F0C3A8965B17}" srcOrd="0" destOrd="0" presId="urn:microsoft.com/office/officeart/2005/8/layout/vList2"/>
    <dgm:cxn modelId="{9C962434-9AED-4CFB-9C5F-EDE6C20A4BC7}" type="presOf" srcId="{DC61867E-3476-44E4-8336-F86D2C7575AE}" destId="{5D6CA0FA-EA69-40A3-9311-600297C825DC}" srcOrd="0" destOrd="0" presId="urn:microsoft.com/office/officeart/2005/8/layout/vList2"/>
    <dgm:cxn modelId="{AE9DAD13-8F37-4A14-BCA9-D00A76C9244B}" srcId="{DC61867E-3476-44E4-8336-F86D2C7575AE}" destId="{DD2A6AA2-0001-4C68-9272-ACF8A8703870}" srcOrd="0" destOrd="0" parTransId="{ED92B1FC-1599-4484-9B4E-335E9C891D2D}" sibTransId="{BE00A630-E259-4AF1-B732-93D0A799FA37}"/>
    <dgm:cxn modelId="{C7108AD7-D43D-4B4E-9F3F-D833177BAFF2}" type="presParOf" srcId="{5D6CA0FA-EA69-40A3-9311-600297C825DC}" destId="{EF6E5557-98B3-4D8C-8B4D-F0C3A8965B17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2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F6E5557-98B3-4D8C-8B4D-F0C3A8965B17}">
      <dsp:nvSpPr>
        <dsp:cNvPr id="0" name=""/>
        <dsp:cNvSpPr/>
      </dsp:nvSpPr>
      <dsp:spPr>
        <a:xfrm>
          <a:off x="0" y="11880"/>
          <a:ext cx="1676400" cy="673920"/>
        </a:xfrm>
        <a:prstGeom prst="teardrop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Dev Test </a:t>
          </a:r>
          <a:endParaRPr lang="en-US" sz="1600" b="1" kern="1200" dirty="0"/>
        </a:p>
      </dsp:txBody>
      <dsp:txXfrm>
        <a:off x="0" y="11880"/>
        <a:ext cx="1676400" cy="67392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D5C1E40-95C5-45A9-90A0-0B1E2BFE4C85}">
      <dsp:nvSpPr>
        <dsp:cNvPr id="0" name=""/>
        <dsp:cNvSpPr/>
      </dsp:nvSpPr>
      <dsp:spPr>
        <a:xfrm flipH="1">
          <a:off x="0" y="613"/>
          <a:ext cx="1676400" cy="685186"/>
        </a:xfrm>
        <a:prstGeom prst="teardrop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User Test </a:t>
          </a:r>
          <a:endParaRPr lang="en-US" sz="1400" b="1" kern="1200" dirty="0"/>
        </a:p>
      </dsp:txBody>
      <dsp:txXfrm flipH="1">
        <a:off x="0" y="613"/>
        <a:ext cx="1676400" cy="685186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D5C1E40-95C5-45A9-90A0-0B1E2BFE4C85}">
      <dsp:nvSpPr>
        <dsp:cNvPr id="0" name=""/>
        <dsp:cNvSpPr/>
      </dsp:nvSpPr>
      <dsp:spPr>
        <a:xfrm flipH="1">
          <a:off x="0" y="0"/>
          <a:ext cx="1905000" cy="685687"/>
        </a:xfrm>
        <a:prstGeom prst="teardrop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Non function Test </a:t>
          </a:r>
          <a:endParaRPr lang="en-US" sz="1400" b="1" kern="1200" dirty="0"/>
        </a:p>
      </dsp:txBody>
      <dsp:txXfrm flipH="1">
        <a:off x="0" y="0"/>
        <a:ext cx="1905000" cy="685687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F6E5557-98B3-4D8C-8B4D-F0C3A8965B17}">
      <dsp:nvSpPr>
        <dsp:cNvPr id="0" name=""/>
        <dsp:cNvSpPr/>
      </dsp:nvSpPr>
      <dsp:spPr>
        <a:xfrm>
          <a:off x="0" y="0"/>
          <a:ext cx="1676400" cy="673920"/>
        </a:xfrm>
        <a:prstGeom prst="teardrop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Test </a:t>
          </a:r>
          <a:endParaRPr lang="en-US" sz="1600" b="1" kern="1200" dirty="0"/>
        </a:p>
      </dsp:txBody>
      <dsp:txXfrm>
        <a:off x="0" y="0"/>
        <a:ext cx="1676400" cy="6739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l" defTabSz="990600" eaLnBrk="1" hangingPunct="1">
              <a:lnSpc>
                <a:spcPct val="100000"/>
              </a:lnSpc>
              <a:defRPr sz="13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defTabSz="990600" eaLnBrk="1" hangingPunct="1">
              <a:lnSpc>
                <a:spcPct val="100000"/>
              </a:lnSpc>
              <a:defRPr sz="13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l" defTabSz="990600" eaLnBrk="1" hangingPunct="1">
              <a:lnSpc>
                <a:spcPct val="100000"/>
              </a:lnSpc>
              <a:defRPr sz="1300" b="0" smtClean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© 2010 Capgemini. All rights reserved.</a:t>
            </a:r>
            <a:endParaRPr lang="fr-FR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defTabSz="990600" eaLnBrk="1" hangingPunct="1">
              <a:lnSpc>
                <a:spcPct val="100000"/>
              </a:lnSpc>
              <a:defRPr sz="13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90588A8-3FFC-4C73-91A2-F31C4B30B862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022725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l" defTabSz="990600" eaLnBrk="1" hangingPunct="1">
              <a:lnSpc>
                <a:spcPct val="100000"/>
              </a:lnSpc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3315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9463" y="768350"/>
            <a:ext cx="554037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6538" y="4860925"/>
            <a:ext cx="662622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977438"/>
            <a:ext cx="3076575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l" defTabSz="990600" eaLnBrk="1" hangingPunct="1">
              <a:lnSpc>
                <a:spcPct val="100000"/>
              </a:lnSpc>
              <a:defRPr sz="1000" b="0" smtClean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© 2010 Capgemini. All rights reserved.</a:t>
            </a:r>
            <a:endParaRPr lang="fr-FR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977438"/>
            <a:ext cx="3076575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defTabSz="990600" eaLnBrk="1" hangingPunct="1">
              <a:lnSpc>
                <a:spcPct val="100000"/>
              </a:lnSpc>
              <a:defRPr sz="10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10239DD-C427-4097-8296-13FE545B3A1E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266700" indent="-87313" algn="l" rtl="0" eaLnBrk="0" fontAlgn="base" hangingPunct="0">
      <a:spcBef>
        <a:spcPct val="30000"/>
      </a:spcBef>
      <a:spcAft>
        <a:spcPct val="0"/>
      </a:spcAft>
      <a:buChar char="•"/>
      <a:defRPr sz="1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542925" indent="-96838" algn="l" rtl="0" eaLnBrk="0" fontAlgn="base" hangingPunct="0">
      <a:spcBef>
        <a:spcPct val="30000"/>
      </a:spcBef>
      <a:spcAft>
        <a:spcPct val="0"/>
      </a:spcAft>
      <a:buChar char="•"/>
      <a:defRPr sz="1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US" smtClean="0"/>
              <a:t>© 2010 Capgemini. All rights reserved.</a:t>
            </a:r>
            <a:endParaRPr lang="fr-FR"/>
          </a:p>
        </p:txBody>
      </p:sp>
      <p:sp>
        <p:nvSpPr>
          <p:cNvPr id="1433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CA609CD-73E5-4647-9D72-FC123868EB7D}" type="slidenum">
              <a:rPr lang="fr-FR" smtClean="0"/>
              <a:pPr/>
              <a:t>0</a:t>
            </a:fld>
            <a:endParaRPr lang="fr-FR" smtClean="0"/>
          </a:p>
        </p:txBody>
      </p:sp>
      <p:sp>
        <p:nvSpPr>
          <p:cNvPr id="143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4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0239DD-C427-4097-8296-13FE545B3A1E}" type="slidenum">
              <a:rPr lang="fr-FR" smtClean="0"/>
              <a:pPr>
                <a:defRPr/>
              </a:pPr>
              <a:t>8</a:t>
            </a:fld>
            <a:endParaRPr lang="fr-F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hyperlink" Target="http://www.capgemini.com/" TargetMode="Externa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hyperlink" Target="http://www.capgemini.com/" TargetMode="External"/><Relationship Id="rId4" Type="http://schemas.openxmlformats.org/officeDocument/2006/relationships/image" Target="../media/image8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ppt_World.jp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 bwMode="gray">
          <a:xfrm>
            <a:off x="0" y="1502416"/>
            <a:ext cx="9906000" cy="5355584"/>
          </a:xfrm>
          <a:prstGeom prst="rect">
            <a:avLst/>
          </a:prstGeom>
        </p:spPr>
      </p:pic>
      <p:sp>
        <p:nvSpPr>
          <p:cNvPr id="5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1524" y="1146175"/>
            <a:ext cx="9902952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solidFill>
            <a:schemeClr val="bg1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gray">
          <a:xfrm>
            <a:off x="328613" y="373856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04800" y="3030538"/>
            <a:ext cx="5128114" cy="792162"/>
          </a:xfrm>
          <a:prstGeom prst="rect">
            <a:avLst/>
          </a:prstGeom>
        </p:spPr>
        <p:txBody>
          <a:bodyPr lIns="0" tIns="45720" rIns="0" bIns="45720"/>
          <a:lstStyle>
            <a:lvl1pPr marL="3175" indent="0">
              <a:buFont typeface="Wingdings" pitchFamily="2" charset="2"/>
              <a:buNone/>
              <a:defRPr sz="2000" b="1">
                <a:solidFill>
                  <a:srgbClr val="E85426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sub-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04800" y="1643050"/>
            <a:ext cx="9144000" cy="1110227"/>
          </a:xfrm>
        </p:spPr>
        <p:txBody>
          <a:bodyPr lIns="0" tIns="45720" bIns="45720" anchor="b" anchorCtr="0"/>
          <a:lstStyle>
            <a:lvl1pPr marL="0" indent="0" algn="l">
              <a:tabLst/>
              <a:defRPr sz="3600">
                <a:solidFill>
                  <a:schemeClr val="accent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1026" name="Picture 2" descr="C:\Documents and Settings\pbarapat\Desktop\TLI  Template\Sogeti_HighRes.jpg"/>
          <p:cNvPicPr>
            <a:picLocks noChangeAspect="1" noChangeArrowheads="1"/>
          </p:cNvPicPr>
          <p:nvPr userDrawn="1"/>
        </p:nvPicPr>
        <p:blipFill>
          <a:blip r:embed="rId5" cstate="screen"/>
          <a:srcRect/>
          <a:stretch>
            <a:fillRect/>
          </a:stretch>
        </p:blipFill>
        <p:spPr bwMode="gray">
          <a:xfrm>
            <a:off x="7535773" y="373856"/>
            <a:ext cx="2132135" cy="484992"/>
          </a:xfrm>
          <a:prstGeom prst="rect">
            <a:avLst/>
          </a:prstGeom>
          <a:noFill/>
        </p:spPr>
      </p:pic>
    </p:spTree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/>
          <p:cNvSpPr>
            <a:spLocks noGrp="1"/>
          </p:cNvSpPr>
          <p:nvPr>
            <p:ph sz="quarter" idx="13"/>
          </p:nvPr>
        </p:nvSpPr>
        <p:spPr bwMode="gray">
          <a:xfrm>
            <a:off x="212723" y="1520637"/>
            <a:ext cx="4663440" cy="1920240"/>
          </a:xfr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4"/>
          </p:nvPr>
        </p:nvSpPr>
        <p:spPr bwMode="gray">
          <a:xfrm>
            <a:off x="5035550" y="1520637"/>
            <a:ext cx="4663440" cy="1920240"/>
          </a:xfr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5"/>
          </p:nvPr>
        </p:nvSpPr>
        <p:spPr bwMode="gray">
          <a:xfrm>
            <a:off x="212723" y="3898077"/>
            <a:ext cx="4663440" cy="1920240"/>
          </a:xfr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14"/>
          <p:cNvSpPr>
            <a:spLocks noGrp="1"/>
          </p:cNvSpPr>
          <p:nvPr>
            <p:ph sz="quarter" idx="16"/>
          </p:nvPr>
        </p:nvSpPr>
        <p:spPr bwMode="gray">
          <a:xfrm>
            <a:off x="5035550" y="3898077"/>
            <a:ext cx="4663440" cy="1920240"/>
          </a:xfr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Espace réservé du texte 2"/>
          <p:cNvSpPr>
            <a:spLocks noGrp="1"/>
          </p:cNvSpPr>
          <p:nvPr>
            <p:ph type="body" idx="1" hasCustomPrompt="1"/>
          </p:nvPr>
        </p:nvSpPr>
        <p:spPr bwMode="gray">
          <a:xfrm>
            <a:off x="212723" y="1247760"/>
            <a:ext cx="4663440" cy="274320"/>
          </a:xfrm>
          <a:prstGeom prst="rect">
            <a:avLst/>
          </a:prstGeom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36576" rIns="9144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3" hasCustomPrompt="1"/>
          </p:nvPr>
        </p:nvSpPr>
        <p:spPr bwMode="gray">
          <a:xfrm>
            <a:off x="5035550" y="1247760"/>
            <a:ext cx="4663440" cy="274320"/>
          </a:xfrm>
          <a:prstGeom prst="rect">
            <a:avLst/>
          </a:prstGeom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36576" rIns="9144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20" name="Espace réservé du texte 2"/>
          <p:cNvSpPr>
            <a:spLocks noGrp="1"/>
          </p:cNvSpPr>
          <p:nvPr>
            <p:ph type="body" idx="17" hasCustomPrompt="1"/>
          </p:nvPr>
        </p:nvSpPr>
        <p:spPr bwMode="gray">
          <a:xfrm>
            <a:off x="212723" y="3623313"/>
            <a:ext cx="4663440" cy="274320"/>
          </a:xfrm>
          <a:prstGeom prst="rect">
            <a:avLst/>
          </a:prstGeom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36576" rIns="9144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035550" y="3623313"/>
            <a:ext cx="4663440" cy="274320"/>
          </a:xfrm>
          <a:prstGeom prst="rect">
            <a:avLst/>
          </a:prstGeom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36576" rIns="9144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3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88686" y="43542"/>
            <a:ext cx="9500616" cy="102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20" rIns="18288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24" name="Rectangle 101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756309" y="6562438"/>
            <a:ext cx="267517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4572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lnSpc>
                <a:spcPct val="100000"/>
              </a:lnSpc>
              <a:defRPr sz="700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The information contained in this presentation is proprietary. Copyright ©2014 </a:t>
            </a:r>
            <a:r>
              <a:rPr lang="en-US" dirty="0" err="1" smtClean="0"/>
              <a:t>Capgemini</a:t>
            </a:r>
            <a:r>
              <a:rPr lang="en-US" dirty="0" smtClean="0"/>
              <a:t>. All rights reserved.</a:t>
            </a:r>
            <a:endParaRPr lang="en-US" dirty="0"/>
          </a:p>
        </p:txBody>
      </p:sp>
      <p:sp>
        <p:nvSpPr>
          <p:cNvPr id="25" name="Rectangle 103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431081" y="6566662"/>
            <a:ext cx="30175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4572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F4147050-0161-4A8B-8C65-9431945EA02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y Only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88686" y="43542"/>
            <a:ext cx="9500616" cy="102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20" rIns="18288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5" name="Rectangle 101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756309" y="6562438"/>
            <a:ext cx="267517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4572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lnSpc>
                <a:spcPct val="100000"/>
              </a:lnSpc>
              <a:defRPr sz="700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The information contained in this presentation is proprietary. Copyright ©2014 </a:t>
            </a:r>
            <a:r>
              <a:rPr lang="en-US" dirty="0" err="1" smtClean="0"/>
              <a:t>Capgemini</a:t>
            </a:r>
            <a:r>
              <a:rPr lang="en-US" dirty="0" smtClean="0"/>
              <a:t>. All rights reserved.</a:t>
            </a:r>
            <a:endParaRPr lang="en-US" dirty="0"/>
          </a:p>
        </p:txBody>
      </p:sp>
      <p:sp>
        <p:nvSpPr>
          <p:cNvPr id="7" name="Rectangle 103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431081" y="6566662"/>
            <a:ext cx="30175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4572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F4147050-0161-4A8B-8C65-9431945EA02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1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756309" y="6562438"/>
            <a:ext cx="267517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4572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lnSpc>
                <a:spcPct val="100000"/>
              </a:lnSpc>
              <a:defRPr sz="700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The information contained in this presentation is proprietary. Copyright ©2014 </a:t>
            </a:r>
            <a:r>
              <a:rPr lang="en-US" dirty="0" err="1" smtClean="0"/>
              <a:t>Capgemini</a:t>
            </a:r>
            <a:r>
              <a:rPr lang="en-US" dirty="0" smtClean="0"/>
              <a:t>. All rights reserved.</a:t>
            </a:r>
            <a:endParaRPr lang="en-US" dirty="0"/>
          </a:p>
        </p:txBody>
      </p:sp>
      <p:sp>
        <p:nvSpPr>
          <p:cNvPr id="6" name="Rectangle 103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431081" y="6566662"/>
            <a:ext cx="30175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4572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F4147050-0161-4A8B-8C65-9431945EA02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0" y="0"/>
            <a:ext cx="9921875" cy="6858000"/>
          </a:xfrm>
          <a:custGeom>
            <a:avLst/>
            <a:gdLst>
              <a:gd name="connsiteX0" fmla="*/ 0 w 5762"/>
              <a:gd name="connsiteY0" fmla="*/ 4389 h 4389"/>
              <a:gd name="connsiteX1" fmla="*/ 516 w 5762"/>
              <a:gd name="connsiteY1" fmla="*/ 3409 h 4389"/>
              <a:gd name="connsiteX2" fmla="*/ 1352 w 5762"/>
              <a:gd name="connsiteY2" fmla="*/ 2814 h 4389"/>
              <a:gd name="connsiteX3" fmla="*/ 3348 w 5762"/>
              <a:gd name="connsiteY3" fmla="*/ 2270 h 4389"/>
              <a:gd name="connsiteX4" fmla="*/ 4987 w 5762"/>
              <a:gd name="connsiteY4" fmla="*/ 1829 h 4389"/>
              <a:gd name="connsiteX5" fmla="*/ 5762 w 5762"/>
              <a:gd name="connsiteY5" fmla="*/ 1285 h 4389"/>
              <a:gd name="connsiteX6" fmla="*/ 5762 w 5762"/>
              <a:gd name="connsiteY6" fmla="*/ 817 h 4389"/>
              <a:gd name="connsiteX7" fmla="*/ 4 w 5762"/>
              <a:gd name="connsiteY7" fmla="*/ 0 h 4389"/>
              <a:gd name="connsiteX0" fmla="*/ 0 w 5762"/>
              <a:gd name="connsiteY0" fmla="*/ 4391 h 4391"/>
              <a:gd name="connsiteX1" fmla="*/ 516 w 5762"/>
              <a:gd name="connsiteY1" fmla="*/ 3411 h 4391"/>
              <a:gd name="connsiteX2" fmla="*/ 1352 w 5762"/>
              <a:gd name="connsiteY2" fmla="*/ 2816 h 4391"/>
              <a:gd name="connsiteX3" fmla="*/ 3348 w 5762"/>
              <a:gd name="connsiteY3" fmla="*/ 2272 h 4391"/>
              <a:gd name="connsiteX4" fmla="*/ 4987 w 5762"/>
              <a:gd name="connsiteY4" fmla="*/ 1831 h 4391"/>
              <a:gd name="connsiteX5" fmla="*/ 5762 w 5762"/>
              <a:gd name="connsiteY5" fmla="*/ 1287 h 4391"/>
              <a:gd name="connsiteX6" fmla="*/ 5762 w 5762"/>
              <a:gd name="connsiteY6" fmla="*/ 0 h 4391"/>
              <a:gd name="connsiteX7" fmla="*/ 4 w 5762"/>
              <a:gd name="connsiteY7" fmla="*/ 2 h 4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62" h="4391">
                <a:moveTo>
                  <a:pt x="0" y="4391"/>
                </a:moveTo>
                <a:cubicBezTo>
                  <a:pt x="58" y="4205"/>
                  <a:pt x="291" y="3673"/>
                  <a:pt x="516" y="3411"/>
                </a:cubicBezTo>
                <a:cubicBezTo>
                  <a:pt x="794" y="3073"/>
                  <a:pt x="1284" y="2846"/>
                  <a:pt x="1352" y="2816"/>
                </a:cubicBezTo>
                <a:cubicBezTo>
                  <a:pt x="1942" y="2539"/>
                  <a:pt x="2872" y="2377"/>
                  <a:pt x="3348" y="2272"/>
                </a:cubicBezTo>
                <a:cubicBezTo>
                  <a:pt x="3895" y="2143"/>
                  <a:pt x="4592" y="1981"/>
                  <a:pt x="4987" y="1831"/>
                </a:cubicBezTo>
                <a:cubicBezTo>
                  <a:pt x="5384" y="1686"/>
                  <a:pt x="5632" y="1455"/>
                  <a:pt x="5762" y="1287"/>
                </a:cubicBezTo>
                <a:lnTo>
                  <a:pt x="5762" y="0"/>
                </a:lnTo>
                <a:lnTo>
                  <a:pt x="4" y="2"/>
                </a:lnTo>
              </a:path>
            </a:pathLst>
          </a:custGeom>
          <a:solidFill>
            <a:schemeClr val="bg1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pic>
        <p:nvPicPr>
          <p:cNvPr id="4" name="Picture 4" descr="OK_Capgemini"/>
          <p:cNvPicPr>
            <a:picLocks noChangeAspect="1" noChangeArrowheads="1"/>
          </p:cNvPicPr>
          <p:nvPr userDrawn="1"/>
        </p:nvPicPr>
        <p:blipFill>
          <a:blip r:embed="rId3" cstate="screen"/>
          <a:srcRect/>
          <a:stretch>
            <a:fillRect/>
          </a:stretch>
        </p:blipFill>
        <p:spPr bwMode="gray">
          <a:xfrm>
            <a:off x="206387" y="546114"/>
            <a:ext cx="3174977" cy="748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8"/>
          <p:cNvSpPr>
            <a:spLocks noChangeArrowheads="1"/>
          </p:cNvSpPr>
          <p:nvPr userDrawn="1"/>
        </p:nvSpPr>
        <p:spPr bwMode="white">
          <a:xfrm>
            <a:off x="4614895" y="5938083"/>
            <a:ext cx="491013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360000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800" b="0" dirty="0">
                <a:solidFill>
                  <a:schemeClr val="bg1"/>
                </a:solidFill>
                <a:latin typeface="+mj-lt"/>
              </a:rPr>
              <a:t>www.capgemini.com and www.sogeti.com</a:t>
            </a:r>
            <a:endParaRPr lang="en-US" sz="1800" b="0" dirty="0">
              <a:solidFill>
                <a:schemeClr val="bg1"/>
              </a:solidFill>
              <a:latin typeface="+mj-lt"/>
              <a:hlinkClick r:id="rId4"/>
            </a:endParaRPr>
          </a:p>
        </p:txBody>
      </p:sp>
      <p:grpSp>
        <p:nvGrpSpPr>
          <p:cNvPr id="7" name="Group 24"/>
          <p:cNvGrpSpPr>
            <a:grpSpLocks/>
          </p:cNvGrpSpPr>
          <p:nvPr userDrawn="1"/>
        </p:nvGrpSpPr>
        <p:grpSpPr bwMode="gray">
          <a:xfrm>
            <a:off x="4986338" y="5429264"/>
            <a:ext cx="4157662" cy="668338"/>
            <a:chOff x="3364" y="3492"/>
            <a:chExt cx="2619" cy="421"/>
          </a:xfrm>
        </p:grpSpPr>
        <p:sp>
          <p:nvSpPr>
            <p:cNvPr id="8" name="Text Box 22"/>
            <p:cNvSpPr txBox="1">
              <a:spLocks noChangeArrowheads="1"/>
            </p:cNvSpPr>
            <p:nvPr/>
          </p:nvSpPr>
          <p:spPr bwMode="gray">
            <a:xfrm>
              <a:off x="3772" y="3597"/>
              <a:ext cx="2211" cy="17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360000" bIns="0">
              <a:spAutoFit/>
            </a:bodyPr>
            <a:lstStyle/>
            <a:p>
              <a:pPr algn="r" eaLnBrk="0" hangingPunct="0">
                <a:defRPr/>
              </a:pPr>
              <a:r>
                <a:rPr lang="en-US" sz="1800" dirty="0"/>
                <a:t>Together.</a:t>
              </a:r>
              <a:r>
                <a:rPr lang="en-US" sz="1800" dirty="0">
                  <a:solidFill>
                    <a:schemeClr val="bg2"/>
                  </a:solidFill>
                </a:rPr>
                <a:t> Free your energies</a:t>
              </a:r>
            </a:p>
          </p:txBody>
        </p:sp>
        <p:pic>
          <p:nvPicPr>
            <p:cNvPr id="9" name="Picture 23" descr="CBE_Label_RGB"/>
            <p:cNvPicPr>
              <a:picLocks noChangeAspect="1" noChangeArrowheads="1"/>
            </p:cNvPicPr>
            <p:nvPr/>
          </p:nvPicPr>
          <p:blipFill>
            <a:blip r:embed="rId5" cstate="screen"/>
            <a:srcRect/>
            <a:stretch>
              <a:fillRect/>
            </a:stretch>
          </p:blipFill>
          <p:spPr bwMode="gray">
            <a:xfrm>
              <a:off x="3364" y="3492"/>
              <a:ext cx="419" cy="4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0" name="Picture 8" descr="Sogeti_Logo.png"/>
          <p:cNvPicPr>
            <a:picLocks noChangeAspect="1"/>
          </p:cNvPicPr>
          <p:nvPr userDrawn="1"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6730538" y="596374"/>
            <a:ext cx="296227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ith CB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7"/>
          <p:cNvGrpSpPr/>
          <p:nvPr userDrawn="1"/>
        </p:nvGrpSpPr>
        <p:grpSpPr bwMode="gray">
          <a:xfrm>
            <a:off x="0" y="5915025"/>
            <a:ext cx="9902952" cy="942975"/>
            <a:chOff x="0" y="5915025"/>
            <a:chExt cx="9902952" cy="942975"/>
          </a:xfrm>
        </p:grpSpPr>
        <p:sp>
          <p:nvSpPr>
            <p:cNvPr id="14" name="Rectangle 5"/>
            <p:cNvSpPr>
              <a:spLocks noChangeArrowheads="1"/>
            </p:cNvSpPr>
            <p:nvPr userDrawn="1"/>
          </p:nvSpPr>
          <p:spPr bwMode="gray">
            <a:xfrm>
              <a:off x="0" y="6353175"/>
              <a:ext cx="9902952" cy="504825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en-US"/>
            </a:p>
          </p:txBody>
        </p:sp>
        <p:sp>
          <p:nvSpPr>
            <p:cNvPr id="15" name="Oval 6"/>
            <p:cNvSpPr>
              <a:spLocks noChangeArrowheads="1"/>
            </p:cNvSpPr>
            <p:nvPr userDrawn="1"/>
          </p:nvSpPr>
          <p:spPr bwMode="gray">
            <a:xfrm>
              <a:off x="8566156" y="5915025"/>
              <a:ext cx="914400" cy="914400"/>
            </a:xfrm>
            <a:prstGeom prst="ellipse">
              <a:avLst/>
            </a:prstGeom>
            <a:solidFill>
              <a:srgbClr val="FFFFFF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/>
            </a:p>
          </p:txBody>
        </p:sp>
        <p:pic>
          <p:nvPicPr>
            <p:cNvPr id="16" name="Picture 7" descr="CBE_CMJN"/>
            <p:cNvPicPr>
              <a:picLocks noChangeAspect="1" noChangeArrowheads="1"/>
            </p:cNvPicPr>
            <p:nvPr userDrawn="1"/>
          </p:nvPicPr>
          <p:blipFill>
            <a:blip r:embed="rId3" cstate="screen"/>
            <a:srcRect/>
            <a:stretch>
              <a:fillRect/>
            </a:stretch>
          </p:blipFill>
          <p:spPr bwMode="gray">
            <a:xfrm>
              <a:off x="8634418" y="5981700"/>
              <a:ext cx="768350" cy="744538"/>
            </a:xfrm>
            <a:prstGeom prst="rect">
              <a:avLst/>
            </a:prstGeom>
            <a:noFill/>
          </p:spPr>
        </p:pic>
        <p:pic>
          <p:nvPicPr>
            <p:cNvPr id="17" name="Picture 8" descr="Untitled-1"/>
            <p:cNvPicPr>
              <a:picLocks noChangeAspect="1" noChangeArrowheads="1"/>
            </p:cNvPicPr>
            <p:nvPr userDrawn="1"/>
          </p:nvPicPr>
          <p:blipFill>
            <a:blip r:embed="rId4" cstate="screen"/>
            <a:srcRect/>
            <a:stretch>
              <a:fillRect/>
            </a:stretch>
          </p:blipFill>
          <p:spPr bwMode="gray">
            <a:xfrm>
              <a:off x="5810256" y="6545262"/>
              <a:ext cx="2760662" cy="120650"/>
            </a:xfrm>
            <a:prstGeom prst="rect">
              <a:avLst/>
            </a:prstGeom>
            <a:noFill/>
          </p:spPr>
        </p:pic>
      </p:grpSp>
      <p:sp>
        <p:nvSpPr>
          <p:cNvPr id="19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0" y="1509"/>
            <a:ext cx="9921875" cy="6394027"/>
          </a:xfrm>
          <a:custGeom>
            <a:avLst/>
            <a:gdLst>
              <a:gd name="connsiteX0" fmla="*/ 0 w 5762"/>
              <a:gd name="connsiteY0" fmla="*/ 4389 h 4389"/>
              <a:gd name="connsiteX1" fmla="*/ 516 w 5762"/>
              <a:gd name="connsiteY1" fmla="*/ 3409 h 4389"/>
              <a:gd name="connsiteX2" fmla="*/ 1352 w 5762"/>
              <a:gd name="connsiteY2" fmla="*/ 2814 h 4389"/>
              <a:gd name="connsiteX3" fmla="*/ 3348 w 5762"/>
              <a:gd name="connsiteY3" fmla="*/ 2270 h 4389"/>
              <a:gd name="connsiteX4" fmla="*/ 4987 w 5762"/>
              <a:gd name="connsiteY4" fmla="*/ 1829 h 4389"/>
              <a:gd name="connsiteX5" fmla="*/ 5762 w 5762"/>
              <a:gd name="connsiteY5" fmla="*/ 1285 h 4389"/>
              <a:gd name="connsiteX6" fmla="*/ 5762 w 5762"/>
              <a:gd name="connsiteY6" fmla="*/ 817 h 4389"/>
              <a:gd name="connsiteX7" fmla="*/ 4 w 5762"/>
              <a:gd name="connsiteY7" fmla="*/ 0 h 4389"/>
              <a:gd name="connsiteX0" fmla="*/ 0 w 5762"/>
              <a:gd name="connsiteY0" fmla="*/ 4391 h 4391"/>
              <a:gd name="connsiteX1" fmla="*/ 516 w 5762"/>
              <a:gd name="connsiteY1" fmla="*/ 3411 h 4391"/>
              <a:gd name="connsiteX2" fmla="*/ 1352 w 5762"/>
              <a:gd name="connsiteY2" fmla="*/ 2816 h 4391"/>
              <a:gd name="connsiteX3" fmla="*/ 3348 w 5762"/>
              <a:gd name="connsiteY3" fmla="*/ 2272 h 4391"/>
              <a:gd name="connsiteX4" fmla="*/ 4987 w 5762"/>
              <a:gd name="connsiteY4" fmla="*/ 1831 h 4391"/>
              <a:gd name="connsiteX5" fmla="*/ 5762 w 5762"/>
              <a:gd name="connsiteY5" fmla="*/ 1287 h 4391"/>
              <a:gd name="connsiteX6" fmla="*/ 5762 w 5762"/>
              <a:gd name="connsiteY6" fmla="*/ 0 h 4391"/>
              <a:gd name="connsiteX7" fmla="*/ 4 w 5762"/>
              <a:gd name="connsiteY7" fmla="*/ 2 h 4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62" h="4391">
                <a:moveTo>
                  <a:pt x="0" y="4391"/>
                </a:moveTo>
                <a:cubicBezTo>
                  <a:pt x="58" y="4205"/>
                  <a:pt x="291" y="3673"/>
                  <a:pt x="516" y="3411"/>
                </a:cubicBezTo>
                <a:cubicBezTo>
                  <a:pt x="794" y="3073"/>
                  <a:pt x="1284" y="2846"/>
                  <a:pt x="1352" y="2816"/>
                </a:cubicBezTo>
                <a:cubicBezTo>
                  <a:pt x="1942" y="2539"/>
                  <a:pt x="2872" y="2377"/>
                  <a:pt x="3348" y="2272"/>
                </a:cubicBezTo>
                <a:cubicBezTo>
                  <a:pt x="3895" y="2143"/>
                  <a:pt x="4592" y="1981"/>
                  <a:pt x="4987" y="1831"/>
                </a:cubicBezTo>
                <a:cubicBezTo>
                  <a:pt x="5384" y="1686"/>
                  <a:pt x="5632" y="1455"/>
                  <a:pt x="5762" y="1287"/>
                </a:cubicBezTo>
                <a:lnTo>
                  <a:pt x="5762" y="0"/>
                </a:lnTo>
                <a:lnTo>
                  <a:pt x="4" y="2"/>
                </a:lnTo>
              </a:path>
            </a:pathLst>
          </a:custGeom>
          <a:solidFill>
            <a:schemeClr val="bg1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sp>
        <p:nvSpPr>
          <p:cNvPr id="10" name="Rectangle 8"/>
          <p:cNvSpPr>
            <a:spLocks noChangeArrowheads="1"/>
          </p:cNvSpPr>
          <p:nvPr userDrawn="1"/>
        </p:nvSpPr>
        <p:spPr bwMode="gray">
          <a:xfrm>
            <a:off x="3494762" y="4988494"/>
            <a:ext cx="573424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360000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2400" b="1" dirty="0">
                <a:solidFill>
                  <a:schemeClr val="bg1"/>
                </a:solidFill>
                <a:latin typeface="+mj-lt"/>
              </a:rPr>
              <a:t>www.capgemini.com and www.sogeti.com</a:t>
            </a:r>
            <a:endParaRPr lang="en-US" sz="2400" b="1" dirty="0">
              <a:solidFill>
                <a:schemeClr val="bg1"/>
              </a:solidFill>
              <a:latin typeface="+mj-lt"/>
              <a:hlinkClick r:id="rId5"/>
            </a:endParaRPr>
          </a:p>
        </p:txBody>
      </p:sp>
      <p:pic>
        <p:nvPicPr>
          <p:cNvPr id="13" name="Picture 4" descr="OK_Capgemini"/>
          <p:cNvPicPr>
            <a:picLocks noChangeAspect="1" noChangeArrowheads="1"/>
          </p:cNvPicPr>
          <p:nvPr userDrawn="1"/>
        </p:nvPicPr>
        <p:blipFill>
          <a:blip r:embed="rId6" cstate="screen"/>
          <a:srcRect/>
          <a:stretch>
            <a:fillRect/>
          </a:stretch>
        </p:blipFill>
        <p:spPr bwMode="gray">
          <a:xfrm>
            <a:off x="206387" y="546114"/>
            <a:ext cx="3174977" cy="748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8" descr="Sogeti_Logo.png"/>
          <p:cNvPicPr>
            <a:picLocks noChangeAspect="1"/>
          </p:cNvPicPr>
          <p:nvPr userDrawn="1"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6730538" y="596374"/>
            <a:ext cx="296227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ppt_World.jp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1502416"/>
            <a:ext cx="9906000" cy="5355584"/>
          </a:xfrm>
          <a:prstGeom prst="rect">
            <a:avLst/>
          </a:prstGeom>
        </p:spPr>
      </p:pic>
      <p:sp>
        <p:nvSpPr>
          <p:cNvPr id="5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1524" y="1146175"/>
            <a:ext cx="9912096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solidFill>
            <a:schemeClr val="accent1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4800" y="3030538"/>
            <a:ext cx="5128114" cy="792162"/>
          </a:xfrm>
          <a:prstGeom prst="rect">
            <a:avLst/>
          </a:prstGeom>
        </p:spPr>
        <p:txBody>
          <a:bodyPr lIns="0" tIns="45720" rIns="0" bIns="45720"/>
          <a:lstStyle>
            <a:lvl1pPr marL="3175" indent="0">
              <a:buFont typeface="Wingdings" pitchFamily="2" charset="2"/>
              <a:buNone/>
              <a:defRPr sz="2000" b="1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sub-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304800" y="1643050"/>
            <a:ext cx="9144000" cy="1110227"/>
          </a:xfrm>
        </p:spPr>
        <p:txBody>
          <a:bodyPr lIns="0" tIns="45720" bIns="45720" anchor="b" anchorCtr="0"/>
          <a:lstStyle>
            <a:lvl1pPr marL="0" indent="0" algn="l">
              <a:tabLst/>
              <a:defRPr sz="3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pic>
        <p:nvPicPr>
          <p:cNvPr id="10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73856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 descr="C:\Documents and Settings\pbarapat\Desktop\TLI  Template\Sogeti_HighRes.jpg"/>
          <p:cNvPicPr>
            <a:picLocks noChangeAspect="1" noChangeArrowheads="1"/>
          </p:cNvPicPr>
          <p:nvPr userDrawn="1"/>
        </p:nvPicPr>
        <p:blipFill>
          <a:blip r:embed="rId5" cstate="screen"/>
          <a:srcRect/>
          <a:stretch>
            <a:fillRect/>
          </a:stretch>
        </p:blipFill>
        <p:spPr bwMode="gray">
          <a:xfrm>
            <a:off x="7535773" y="373856"/>
            <a:ext cx="2132135" cy="484992"/>
          </a:xfrm>
          <a:prstGeom prst="rect">
            <a:avLst/>
          </a:prstGeom>
          <a:noFill/>
        </p:spPr>
      </p:pic>
    </p:spTree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- CB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0" y="5915025"/>
            <a:ext cx="9902952" cy="942975"/>
            <a:chOff x="0" y="5915025"/>
            <a:chExt cx="9902952" cy="942975"/>
          </a:xfrm>
        </p:grpSpPr>
        <p:sp>
          <p:nvSpPr>
            <p:cNvPr id="14" name="Rectangle 5"/>
            <p:cNvSpPr>
              <a:spLocks noChangeArrowheads="1"/>
            </p:cNvSpPr>
            <p:nvPr userDrawn="1"/>
          </p:nvSpPr>
          <p:spPr bwMode="gray">
            <a:xfrm>
              <a:off x="0" y="6353175"/>
              <a:ext cx="9902952" cy="504825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en-US"/>
            </a:p>
          </p:txBody>
        </p:sp>
        <p:sp>
          <p:nvSpPr>
            <p:cNvPr id="15" name="Oval 6"/>
            <p:cNvSpPr>
              <a:spLocks noChangeArrowheads="1"/>
            </p:cNvSpPr>
            <p:nvPr userDrawn="1"/>
          </p:nvSpPr>
          <p:spPr bwMode="gray">
            <a:xfrm>
              <a:off x="8566156" y="5915025"/>
              <a:ext cx="914400" cy="914400"/>
            </a:xfrm>
            <a:prstGeom prst="ellipse">
              <a:avLst/>
            </a:prstGeom>
            <a:solidFill>
              <a:srgbClr val="FFFFFF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n-US"/>
            </a:p>
          </p:txBody>
        </p:sp>
        <p:pic>
          <p:nvPicPr>
            <p:cNvPr id="16" name="Picture 7" descr="CBE_CMJN"/>
            <p:cNvPicPr>
              <a:picLocks noChangeAspect="1" noChangeArrowheads="1"/>
            </p:cNvPicPr>
            <p:nvPr userDrawn="1"/>
          </p:nvPicPr>
          <p:blipFill>
            <a:blip r:embed="rId3" cstate="screen"/>
            <a:srcRect/>
            <a:stretch>
              <a:fillRect/>
            </a:stretch>
          </p:blipFill>
          <p:spPr bwMode="gray">
            <a:xfrm>
              <a:off x="8634418" y="5981700"/>
              <a:ext cx="768350" cy="744538"/>
            </a:xfrm>
            <a:prstGeom prst="rect">
              <a:avLst/>
            </a:prstGeom>
            <a:noFill/>
          </p:spPr>
        </p:pic>
        <p:pic>
          <p:nvPicPr>
            <p:cNvPr id="17" name="Picture 8" descr="Untitled-1"/>
            <p:cNvPicPr>
              <a:picLocks noChangeAspect="1" noChangeArrowheads="1"/>
            </p:cNvPicPr>
            <p:nvPr userDrawn="1"/>
          </p:nvPicPr>
          <p:blipFill>
            <a:blip r:embed="rId4" cstate="screen"/>
            <a:srcRect/>
            <a:stretch>
              <a:fillRect/>
            </a:stretch>
          </p:blipFill>
          <p:spPr bwMode="gray">
            <a:xfrm>
              <a:off x="5810256" y="6545262"/>
              <a:ext cx="2760662" cy="120650"/>
            </a:xfrm>
            <a:prstGeom prst="rect">
              <a:avLst/>
            </a:prstGeom>
            <a:noFill/>
          </p:spPr>
        </p:pic>
      </p:grpSp>
      <p:sp>
        <p:nvSpPr>
          <p:cNvPr id="19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0" y="1509"/>
            <a:ext cx="9921875" cy="6394027"/>
          </a:xfrm>
          <a:custGeom>
            <a:avLst/>
            <a:gdLst>
              <a:gd name="connsiteX0" fmla="*/ 0 w 5762"/>
              <a:gd name="connsiteY0" fmla="*/ 4389 h 4389"/>
              <a:gd name="connsiteX1" fmla="*/ 516 w 5762"/>
              <a:gd name="connsiteY1" fmla="*/ 3409 h 4389"/>
              <a:gd name="connsiteX2" fmla="*/ 1352 w 5762"/>
              <a:gd name="connsiteY2" fmla="*/ 2814 h 4389"/>
              <a:gd name="connsiteX3" fmla="*/ 3348 w 5762"/>
              <a:gd name="connsiteY3" fmla="*/ 2270 h 4389"/>
              <a:gd name="connsiteX4" fmla="*/ 4987 w 5762"/>
              <a:gd name="connsiteY4" fmla="*/ 1829 h 4389"/>
              <a:gd name="connsiteX5" fmla="*/ 5762 w 5762"/>
              <a:gd name="connsiteY5" fmla="*/ 1285 h 4389"/>
              <a:gd name="connsiteX6" fmla="*/ 5762 w 5762"/>
              <a:gd name="connsiteY6" fmla="*/ 817 h 4389"/>
              <a:gd name="connsiteX7" fmla="*/ 4 w 5762"/>
              <a:gd name="connsiteY7" fmla="*/ 0 h 4389"/>
              <a:gd name="connsiteX0" fmla="*/ 0 w 5762"/>
              <a:gd name="connsiteY0" fmla="*/ 4391 h 4391"/>
              <a:gd name="connsiteX1" fmla="*/ 516 w 5762"/>
              <a:gd name="connsiteY1" fmla="*/ 3411 h 4391"/>
              <a:gd name="connsiteX2" fmla="*/ 1352 w 5762"/>
              <a:gd name="connsiteY2" fmla="*/ 2816 h 4391"/>
              <a:gd name="connsiteX3" fmla="*/ 3348 w 5762"/>
              <a:gd name="connsiteY3" fmla="*/ 2272 h 4391"/>
              <a:gd name="connsiteX4" fmla="*/ 4987 w 5762"/>
              <a:gd name="connsiteY4" fmla="*/ 1831 h 4391"/>
              <a:gd name="connsiteX5" fmla="*/ 5762 w 5762"/>
              <a:gd name="connsiteY5" fmla="*/ 1287 h 4391"/>
              <a:gd name="connsiteX6" fmla="*/ 5762 w 5762"/>
              <a:gd name="connsiteY6" fmla="*/ 0 h 4391"/>
              <a:gd name="connsiteX7" fmla="*/ 4 w 5762"/>
              <a:gd name="connsiteY7" fmla="*/ 2 h 4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62" h="4391">
                <a:moveTo>
                  <a:pt x="0" y="4391"/>
                </a:moveTo>
                <a:cubicBezTo>
                  <a:pt x="58" y="4205"/>
                  <a:pt x="291" y="3673"/>
                  <a:pt x="516" y="3411"/>
                </a:cubicBezTo>
                <a:cubicBezTo>
                  <a:pt x="794" y="3073"/>
                  <a:pt x="1284" y="2846"/>
                  <a:pt x="1352" y="2816"/>
                </a:cubicBezTo>
                <a:cubicBezTo>
                  <a:pt x="1942" y="2539"/>
                  <a:pt x="2872" y="2377"/>
                  <a:pt x="3348" y="2272"/>
                </a:cubicBezTo>
                <a:cubicBezTo>
                  <a:pt x="3895" y="2143"/>
                  <a:pt x="4592" y="1981"/>
                  <a:pt x="4987" y="1831"/>
                </a:cubicBezTo>
                <a:cubicBezTo>
                  <a:pt x="5384" y="1686"/>
                  <a:pt x="5632" y="1455"/>
                  <a:pt x="5762" y="1287"/>
                </a:cubicBezTo>
                <a:lnTo>
                  <a:pt x="5762" y="0"/>
                </a:lnTo>
                <a:lnTo>
                  <a:pt x="4" y="2"/>
                </a:lnTo>
              </a:path>
            </a:pathLst>
          </a:custGeom>
          <a:solidFill>
            <a:schemeClr val="bg1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304800" y="1643050"/>
            <a:ext cx="9144000" cy="1110227"/>
          </a:xfrm>
        </p:spPr>
        <p:txBody>
          <a:bodyPr lIns="0" tIns="45720" bIns="45720" anchor="b" anchorCtr="0"/>
          <a:lstStyle>
            <a:lvl1pPr marL="0" indent="0" algn="l">
              <a:tabLst/>
              <a:defRPr sz="3600">
                <a:solidFill>
                  <a:schemeClr val="accent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04800" y="3030538"/>
            <a:ext cx="5128114" cy="792162"/>
          </a:xfrm>
          <a:prstGeom prst="rect">
            <a:avLst/>
          </a:prstGeom>
        </p:spPr>
        <p:txBody>
          <a:bodyPr lIns="0" tIns="45720" rIns="0" bIns="45720"/>
          <a:lstStyle>
            <a:lvl1pPr marL="3175" indent="0">
              <a:buFont typeface="Wingdings" pitchFamily="2" charset="2"/>
              <a:buNone/>
              <a:defRPr sz="2000" b="1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sub-title styl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0" y="0"/>
            <a:ext cx="9921875" cy="6858000"/>
          </a:xfrm>
          <a:custGeom>
            <a:avLst/>
            <a:gdLst>
              <a:gd name="connsiteX0" fmla="*/ 0 w 5762"/>
              <a:gd name="connsiteY0" fmla="*/ 4389 h 4389"/>
              <a:gd name="connsiteX1" fmla="*/ 516 w 5762"/>
              <a:gd name="connsiteY1" fmla="*/ 3409 h 4389"/>
              <a:gd name="connsiteX2" fmla="*/ 1352 w 5762"/>
              <a:gd name="connsiteY2" fmla="*/ 2814 h 4389"/>
              <a:gd name="connsiteX3" fmla="*/ 3348 w 5762"/>
              <a:gd name="connsiteY3" fmla="*/ 2270 h 4389"/>
              <a:gd name="connsiteX4" fmla="*/ 4987 w 5762"/>
              <a:gd name="connsiteY4" fmla="*/ 1829 h 4389"/>
              <a:gd name="connsiteX5" fmla="*/ 5762 w 5762"/>
              <a:gd name="connsiteY5" fmla="*/ 1285 h 4389"/>
              <a:gd name="connsiteX6" fmla="*/ 5762 w 5762"/>
              <a:gd name="connsiteY6" fmla="*/ 817 h 4389"/>
              <a:gd name="connsiteX7" fmla="*/ 4 w 5762"/>
              <a:gd name="connsiteY7" fmla="*/ 0 h 4389"/>
              <a:gd name="connsiteX0" fmla="*/ 0 w 5762"/>
              <a:gd name="connsiteY0" fmla="*/ 4391 h 4391"/>
              <a:gd name="connsiteX1" fmla="*/ 516 w 5762"/>
              <a:gd name="connsiteY1" fmla="*/ 3411 h 4391"/>
              <a:gd name="connsiteX2" fmla="*/ 1352 w 5762"/>
              <a:gd name="connsiteY2" fmla="*/ 2816 h 4391"/>
              <a:gd name="connsiteX3" fmla="*/ 3348 w 5762"/>
              <a:gd name="connsiteY3" fmla="*/ 2272 h 4391"/>
              <a:gd name="connsiteX4" fmla="*/ 4987 w 5762"/>
              <a:gd name="connsiteY4" fmla="*/ 1831 h 4391"/>
              <a:gd name="connsiteX5" fmla="*/ 5762 w 5762"/>
              <a:gd name="connsiteY5" fmla="*/ 1287 h 4391"/>
              <a:gd name="connsiteX6" fmla="*/ 5762 w 5762"/>
              <a:gd name="connsiteY6" fmla="*/ 0 h 4391"/>
              <a:gd name="connsiteX7" fmla="*/ 4 w 5762"/>
              <a:gd name="connsiteY7" fmla="*/ 2 h 4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62" h="4391">
                <a:moveTo>
                  <a:pt x="0" y="4391"/>
                </a:moveTo>
                <a:cubicBezTo>
                  <a:pt x="58" y="4205"/>
                  <a:pt x="291" y="3673"/>
                  <a:pt x="516" y="3411"/>
                </a:cubicBezTo>
                <a:cubicBezTo>
                  <a:pt x="794" y="3073"/>
                  <a:pt x="1284" y="2846"/>
                  <a:pt x="1352" y="2816"/>
                </a:cubicBezTo>
                <a:cubicBezTo>
                  <a:pt x="1942" y="2539"/>
                  <a:pt x="2872" y="2377"/>
                  <a:pt x="3348" y="2272"/>
                </a:cubicBezTo>
                <a:cubicBezTo>
                  <a:pt x="3895" y="2143"/>
                  <a:pt x="4592" y="1981"/>
                  <a:pt x="4987" y="1831"/>
                </a:cubicBezTo>
                <a:cubicBezTo>
                  <a:pt x="5384" y="1686"/>
                  <a:pt x="5632" y="1455"/>
                  <a:pt x="5762" y="1287"/>
                </a:cubicBezTo>
                <a:lnTo>
                  <a:pt x="5762" y="0"/>
                </a:lnTo>
                <a:lnTo>
                  <a:pt x="4" y="2"/>
                </a:lnTo>
              </a:path>
            </a:pathLst>
          </a:custGeom>
          <a:solidFill>
            <a:schemeClr val="bg1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304800" y="1643050"/>
            <a:ext cx="9144000" cy="1110227"/>
          </a:xfrm>
        </p:spPr>
        <p:txBody>
          <a:bodyPr lIns="0" tIns="45720" bIns="45720" anchor="b" anchorCtr="0"/>
          <a:lstStyle>
            <a:lvl1pPr marL="0" indent="0" algn="l">
              <a:tabLst/>
              <a:defRPr sz="3600">
                <a:solidFill>
                  <a:schemeClr val="accent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Subtit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04800" y="3030538"/>
            <a:ext cx="5128114" cy="792162"/>
          </a:xfrm>
          <a:prstGeom prst="rect">
            <a:avLst/>
          </a:prstGeom>
        </p:spPr>
        <p:txBody>
          <a:bodyPr lIns="0" tIns="45720" rIns="0" bIns="45720"/>
          <a:lstStyle>
            <a:lvl1pPr marL="3175" indent="0">
              <a:buFont typeface="Wingdings" pitchFamily="2" charset="2"/>
              <a:buNone/>
              <a:defRPr sz="2000" b="1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sub-title styl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 bwMode="gray">
          <a:xfrm>
            <a:off x="200025" y="1249363"/>
            <a:ext cx="9505950" cy="457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88686" y="43542"/>
            <a:ext cx="9500616" cy="102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20" rIns="18288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6" name="Rectangle 101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756309" y="6562438"/>
            <a:ext cx="267517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4572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lnSpc>
                <a:spcPct val="100000"/>
              </a:lnSpc>
              <a:defRPr sz="700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The information contained in this presentation is proprietary. Copyright ©2014 </a:t>
            </a:r>
            <a:r>
              <a:rPr lang="en-US" dirty="0" err="1" smtClean="0"/>
              <a:t>Capgemini</a:t>
            </a:r>
            <a:r>
              <a:rPr lang="en-US" dirty="0" smtClean="0"/>
              <a:t>. All rights reserved.</a:t>
            </a:r>
            <a:endParaRPr lang="en-US" dirty="0"/>
          </a:p>
        </p:txBody>
      </p:sp>
      <p:sp>
        <p:nvSpPr>
          <p:cNvPr id="8" name="Rectangle 103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431081" y="6566662"/>
            <a:ext cx="30175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4572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F4147050-0161-4A8B-8C65-9431945EA02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200025" y="1249363"/>
            <a:ext cx="9509760" cy="4572000"/>
          </a:xfrm>
        </p:spPr>
        <p:txBody>
          <a:bodyPr>
            <a:normAutofit/>
          </a:bodyPr>
          <a:lstStyle>
            <a:lvl1pPr>
              <a:defRPr sz="1800" baseline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88686" y="43542"/>
            <a:ext cx="9500616" cy="102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20" rIns="18288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2" name="Rectangle 101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756309" y="6562438"/>
            <a:ext cx="267517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4572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lnSpc>
                <a:spcPct val="100000"/>
              </a:lnSpc>
              <a:defRPr sz="700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The information contained in this presentation is proprietary. Copyright ©2014 </a:t>
            </a:r>
            <a:r>
              <a:rPr lang="en-US" dirty="0" err="1" smtClean="0"/>
              <a:t>Capgemini</a:t>
            </a:r>
            <a:r>
              <a:rPr lang="en-US" dirty="0" smtClean="0"/>
              <a:t>. All rights reserved.</a:t>
            </a:r>
            <a:endParaRPr lang="en-US" dirty="0"/>
          </a:p>
        </p:txBody>
      </p:sp>
      <p:sp>
        <p:nvSpPr>
          <p:cNvPr id="13" name="Rectangle 103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431081" y="6566662"/>
            <a:ext cx="30175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4572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F4147050-0161-4A8B-8C65-9431945EA02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The information contained in this presentation is proprietary. Copyright ©2014 </a:t>
            </a:r>
            <a:r>
              <a:rPr lang="en-US" dirty="0" err="1" smtClean="0"/>
              <a:t>Capgemini</a:t>
            </a:r>
            <a:r>
              <a:rPr lang="en-US" dirty="0" smtClean="0"/>
              <a:t>. All rights reserv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4147050-0161-4A8B-8C65-9431945EA0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12723" y="1245314"/>
            <a:ext cx="466344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5035550" y="1245314"/>
            <a:ext cx="466344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4"/>
          <p:cNvSpPr>
            <a:spLocks noGrp="1"/>
          </p:cNvSpPr>
          <p:nvPr>
            <p:ph sz="quarter" idx="11"/>
          </p:nvPr>
        </p:nvSpPr>
        <p:spPr bwMode="gray">
          <a:xfrm>
            <a:off x="212723" y="1590674"/>
            <a:ext cx="4663440" cy="4226639"/>
          </a:xfr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3"/>
          </p:nvPr>
        </p:nvSpPr>
        <p:spPr bwMode="gray">
          <a:xfrm>
            <a:off x="5035550" y="1590674"/>
            <a:ext cx="4663440" cy="4226639"/>
          </a:xfr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 bwMode="gray">
          <a:xfrm>
            <a:off x="212723" y="1247760"/>
            <a:ext cx="4663440" cy="365760"/>
          </a:xfrm>
          <a:prstGeom prst="rect">
            <a:avLst/>
          </a:prstGeom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36576" rIns="9144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 bwMode="gray">
          <a:xfrm>
            <a:off x="5035550" y="1247760"/>
            <a:ext cx="4663440" cy="365760"/>
          </a:xfrm>
          <a:prstGeom prst="rect">
            <a:avLst/>
          </a:prstGeom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36576" rIns="9144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88686" y="43542"/>
            <a:ext cx="9500616" cy="102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20" rIns="18288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Rectangle 101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756309" y="6562438"/>
            <a:ext cx="267517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4572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lnSpc>
                <a:spcPct val="100000"/>
              </a:lnSpc>
              <a:defRPr sz="700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The information contained in this presentation is proprietary. Copyright ©2014 </a:t>
            </a:r>
            <a:r>
              <a:rPr lang="en-US" dirty="0" err="1" smtClean="0"/>
              <a:t>Capgemini</a:t>
            </a:r>
            <a:r>
              <a:rPr lang="en-US" dirty="0" smtClean="0"/>
              <a:t>. All rights reserved.</a:t>
            </a:r>
            <a:endParaRPr lang="en-US" dirty="0"/>
          </a:p>
        </p:txBody>
      </p:sp>
      <p:sp>
        <p:nvSpPr>
          <p:cNvPr id="11" name="Rectangle 103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431081" y="6566662"/>
            <a:ext cx="30175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4572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F4147050-0161-4A8B-8C65-9431945EA02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The information contained in this presentation is proprietary. Copyright ©2014 </a:t>
            </a:r>
            <a:r>
              <a:rPr lang="en-US" dirty="0" err="1" smtClean="0"/>
              <a:t>Capgemini</a:t>
            </a:r>
            <a:r>
              <a:rPr lang="en-US" dirty="0" smtClean="0"/>
              <a:t>. All rights reserv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4147050-0161-4A8B-8C65-9431945EA0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12723" y="1245314"/>
            <a:ext cx="4663440" cy="219456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5035550" y="1245314"/>
            <a:ext cx="4663440" cy="219456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212723" y="3622754"/>
            <a:ext cx="4663440" cy="219456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5"/>
          <p:cNvSpPr>
            <a:spLocks noGrp="1"/>
          </p:cNvSpPr>
          <p:nvPr>
            <p:ph sz="quarter" idx="15"/>
          </p:nvPr>
        </p:nvSpPr>
        <p:spPr>
          <a:xfrm>
            <a:off x="5035550" y="3622754"/>
            <a:ext cx="4663440" cy="219456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88686" y="43542"/>
            <a:ext cx="9500616" cy="102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20" rIns="18288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itle  </a:t>
            </a:r>
          </a:p>
        </p:txBody>
      </p:sp>
      <p:pic>
        <p:nvPicPr>
          <p:cNvPr id="2053" name="Picture 12" descr="OK_Capgemini"/>
          <p:cNvPicPr>
            <a:picLocks noChangeAspect="1" noChangeArrowheads="1"/>
          </p:cNvPicPr>
          <p:nvPr/>
        </p:nvPicPr>
        <p:blipFill>
          <a:blip r:embed="rId1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220663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060" name="Groupe 16"/>
          <p:cNvGrpSpPr>
            <a:grpSpLocks/>
          </p:cNvGrpSpPr>
          <p:nvPr/>
        </p:nvGrpSpPr>
        <p:grpSpPr bwMode="gray">
          <a:xfrm>
            <a:off x="0" y="0"/>
            <a:ext cx="3457575" cy="1235075"/>
            <a:chOff x="0" y="0"/>
            <a:chExt cx="3457575" cy="1235076"/>
          </a:xfrm>
          <a:solidFill>
            <a:schemeClr val="accent1"/>
          </a:solidFill>
        </p:grpSpPr>
        <p:sp>
          <p:nvSpPr>
            <p:cNvPr id="1047" name="Freeform 23"/>
            <p:cNvSpPr>
              <a:spLocks/>
            </p:cNvSpPr>
            <p:nvPr/>
          </p:nvSpPr>
          <p:spPr bwMode="gray">
            <a:xfrm>
              <a:off x="0" y="0"/>
              <a:ext cx="3457575" cy="123507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 noProof="0"/>
            </a:p>
          </p:txBody>
        </p:sp>
        <p:pic>
          <p:nvPicPr>
            <p:cNvPr id="2065" name="Picture 14" descr="CBE_Label_RGB"/>
            <p:cNvPicPr>
              <a:picLocks noChangeAspect="1" noChangeArrowheads="1"/>
            </p:cNvPicPr>
            <p:nvPr userDrawn="1"/>
          </p:nvPicPr>
          <p:blipFill>
            <a:blip r:embed="rId17" cstate="screen"/>
            <a:srcRect/>
            <a:stretch>
              <a:fillRect/>
            </a:stretch>
          </p:blipFill>
          <p:spPr bwMode="gray">
            <a:xfrm>
              <a:off x="128588" y="128588"/>
              <a:ext cx="517525" cy="5207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8" name="Picture 2" descr="C:\Documents and Settings\pbarapat\Desktop\TLI  Template\Sogeti_HighRes.jpg"/>
          <p:cNvPicPr>
            <a:picLocks noChangeAspect="1" noChangeArrowheads="1"/>
          </p:cNvPicPr>
          <p:nvPr/>
        </p:nvPicPr>
        <p:blipFill>
          <a:blip r:embed="rId18" cstate="screen"/>
          <a:srcRect/>
          <a:stretch>
            <a:fillRect/>
          </a:stretch>
        </p:blipFill>
        <p:spPr bwMode="gray">
          <a:xfrm>
            <a:off x="2625199" y="6408735"/>
            <a:ext cx="1326021" cy="301627"/>
          </a:xfrm>
          <a:prstGeom prst="rect">
            <a:avLst/>
          </a:prstGeom>
          <a:noFill/>
        </p:spPr>
      </p:pic>
      <p:sp>
        <p:nvSpPr>
          <p:cNvPr id="14" name="Rectangle 120"/>
          <p:cNvSpPr>
            <a:spLocks noChangeArrowheads="1"/>
          </p:cNvSpPr>
          <p:nvPr/>
        </p:nvSpPr>
        <p:spPr bwMode="gray">
          <a:xfrm>
            <a:off x="5900174" y="6318251"/>
            <a:ext cx="3806293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45720">
            <a:spAutoFit/>
          </a:bodyPr>
          <a:lstStyle/>
          <a:p>
            <a:pPr algn="r">
              <a:lnSpc>
                <a:spcPct val="100000"/>
              </a:lnSpc>
              <a:spcBef>
                <a:spcPct val="10000"/>
              </a:spcBef>
            </a:pPr>
            <a:r>
              <a:rPr lang="en-US" altLang="en-US" sz="1000" dirty="0" err="1" smtClean="0">
                <a:solidFill>
                  <a:schemeClr val="tx2"/>
                </a:solidFill>
              </a:rPr>
              <a:t>Capgemini</a:t>
            </a:r>
            <a:r>
              <a:rPr lang="en-US" altLang="en-US" sz="1000" dirty="0" smtClean="0">
                <a:solidFill>
                  <a:schemeClr val="tx2"/>
                </a:solidFill>
              </a:rPr>
              <a:t> Testing  Capability FY 2013 - 14 |  Testing Practice</a:t>
            </a:r>
            <a:endParaRPr lang="en-US" altLang="en-US" sz="1000" dirty="0">
              <a:solidFill>
                <a:schemeClr val="tx2"/>
              </a:solidFill>
            </a:endParaRPr>
          </a:p>
        </p:txBody>
      </p:sp>
      <p:sp>
        <p:nvSpPr>
          <p:cNvPr id="15" name="Rectangle 101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756309" y="6562438"/>
            <a:ext cx="267517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4572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lnSpc>
                <a:spcPct val="100000"/>
              </a:lnSpc>
              <a:defRPr sz="700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The information contained in this presentation is proprietary. Copyright ©2014 </a:t>
            </a:r>
            <a:r>
              <a:rPr lang="en-US" dirty="0" err="1" smtClean="0"/>
              <a:t>Capgemini</a:t>
            </a:r>
            <a:r>
              <a:rPr lang="en-US" dirty="0" smtClean="0"/>
              <a:t>. All rights reserved.</a:t>
            </a:r>
            <a:endParaRPr lang="en-US" dirty="0"/>
          </a:p>
        </p:txBody>
      </p:sp>
      <p:sp>
        <p:nvSpPr>
          <p:cNvPr id="17" name="Rectangle 103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431081" y="6566662"/>
            <a:ext cx="30175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4572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F4147050-0161-4A8B-8C65-9431945EA0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idx="1"/>
          </p:nvPr>
        </p:nvSpPr>
        <p:spPr bwMode="gray">
          <a:xfrm>
            <a:off x="212724" y="1249364"/>
            <a:ext cx="9493719" cy="45402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Rectangle 26"/>
          <p:cNvSpPr>
            <a:spLocks noChangeArrowheads="1"/>
          </p:cNvSpPr>
          <p:nvPr/>
        </p:nvSpPr>
        <p:spPr bwMode="gray">
          <a:xfrm>
            <a:off x="0" y="6309360"/>
            <a:ext cx="9912096" cy="17463"/>
          </a:xfrm>
          <a:prstGeom prst="rect">
            <a:avLst/>
          </a:prstGeom>
          <a:gradFill flip="none" rotWithShape="1">
            <a:gsLst>
              <a:gs pos="0">
                <a:srgbClr val="E6F5FA"/>
              </a:gs>
              <a:gs pos="100000">
                <a:schemeClr val="accent1"/>
              </a:gs>
              <a:gs pos="100000">
                <a:schemeClr val="accent1"/>
              </a:gs>
            </a:gsLst>
            <a:lin ang="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73" r:id="rId2"/>
    <p:sldLayoutId id="2147483749" r:id="rId3"/>
    <p:sldLayoutId id="2147483750" r:id="rId4"/>
    <p:sldLayoutId id="2147483714" r:id="rId5"/>
    <p:sldLayoutId id="2147483781" r:id="rId6"/>
    <p:sldLayoutId id="2147483783" r:id="rId7"/>
    <p:sldLayoutId id="2147483726" r:id="rId8"/>
    <p:sldLayoutId id="2147483784" r:id="rId9"/>
    <p:sldLayoutId id="2147483780" r:id="rId10"/>
    <p:sldLayoutId id="2147483758" r:id="rId11"/>
    <p:sldLayoutId id="2147483782" r:id="rId12"/>
    <p:sldLayoutId id="2147483779" r:id="rId13"/>
    <p:sldLayoutId id="2147483778" r:id="rId14"/>
  </p:sldLayoutIdLst>
  <p:transition>
    <p:wipe dir="r"/>
  </p:transition>
  <p:hf hdr="0"/>
  <p:txStyles>
    <p:titleStyle>
      <a:lvl1pPr marL="914400" indent="0" algn="ctr" rtl="0" eaLnBrk="1" fontAlgn="base" hangingPunct="1">
        <a:spcBef>
          <a:spcPct val="0"/>
        </a:spcBef>
        <a:spcAft>
          <a:spcPct val="0"/>
        </a:spcAft>
        <a:tabLst/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marL="714375" indent="-714375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2pPr>
      <a:lvl3pPr marL="714375" indent="-714375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3pPr>
      <a:lvl4pPr marL="714375" indent="-714375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4pPr>
      <a:lvl5pPr marL="714375" indent="-714375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5pPr>
      <a:lvl6pPr marL="1712913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6pPr>
      <a:lvl7pPr marL="2170113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7pPr>
      <a:lvl8pPr marL="2627313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8pPr>
      <a:lvl9pPr marL="3084513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0" marR="0" indent="0" algn="l" defTabSz="714375" rtl="0" eaLnBrk="1" fontAlgn="base" latinLnBrk="0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SzTx/>
        <a:buFont typeface="Wingdings" pitchFamily="2" charset="2"/>
        <a:buNone/>
        <a:tabLst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171450" marR="0" indent="-171450" algn="l" defTabSz="914400" rtl="0" eaLnBrk="1" fontAlgn="base" latinLnBrk="0" hangingPunct="1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SzTx/>
        <a:buFont typeface="Wingdings" pitchFamily="2" charset="2"/>
        <a:buChar char="§"/>
        <a:tabLst/>
        <a:defRPr sz="2000" baseline="0">
          <a:solidFill>
            <a:schemeClr val="tx1"/>
          </a:solidFill>
          <a:latin typeface="+mn-lt"/>
          <a:cs typeface="+mn-cs"/>
        </a:defRPr>
      </a:lvl2pPr>
      <a:lvl3pPr marL="341313" marR="0" indent="-174625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Clr>
          <a:schemeClr val="accent3"/>
        </a:buClr>
        <a:buSzTx/>
        <a:buFont typeface="Arial" pitchFamily="34" charset="0"/>
        <a:buChar char="•"/>
        <a:tabLst/>
        <a:defRPr sz="1800" baseline="0">
          <a:solidFill>
            <a:schemeClr val="tx1"/>
          </a:solidFill>
          <a:latin typeface="+mn-lt"/>
          <a:cs typeface="+mn-cs"/>
        </a:defRPr>
      </a:lvl3pPr>
      <a:lvl4pPr marL="571500" indent="-228600" algn="l" defTabSz="714375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–"/>
        <a:defRPr sz="1600" baseline="0">
          <a:solidFill>
            <a:schemeClr val="tx1"/>
          </a:solidFill>
          <a:latin typeface="+mn-lt"/>
          <a:cs typeface="+mn-cs"/>
        </a:defRPr>
      </a:lvl4pPr>
      <a:lvl5pPr marL="800100" indent="-228600" algn="l" defTabSz="714375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2"/>
        </a:buClr>
        <a:buFont typeface="Arial" pitchFamily="34" charset="0"/>
        <a:buChar char="–"/>
        <a:tabLst/>
        <a:defRPr sz="1600" baseline="0">
          <a:solidFill>
            <a:schemeClr val="tx1"/>
          </a:solidFill>
          <a:latin typeface="+mn-lt"/>
          <a:cs typeface="+mn-cs"/>
        </a:defRPr>
      </a:lvl5pPr>
      <a:lvl6pPr marL="2687638" indent="-228600" algn="l" defTabSz="714375" rtl="0" eaLnBrk="1" fontAlgn="base" hangingPunct="1">
        <a:spcBef>
          <a:spcPct val="20000"/>
        </a:spcBef>
        <a:spcAft>
          <a:spcPct val="0"/>
        </a:spcAft>
        <a:buChar char="»"/>
        <a:defRPr sz="1400" baseline="0">
          <a:solidFill>
            <a:schemeClr val="tx1"/>
          </a:solidFill>
          <a:latin typeface="+mn-lt"/>
          <a:cs typeface="+mn-cs"/>
        </a:defRPr>
      </a:lvl6pPr>
      <a:lvl7pPr marL="3144838" indent="-228600" algn="l" defTabSz="714375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602038" indent="-228600" algn="l" defTabSz="714375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4059238" indent="-228600" algn="l" defTabSz="714375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image" Target="../media/image12.png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4800" y="1066800"/>
            <a:ext cx="9144000" cy="1110227"/>
          </a:xfrm>
          <a:noFill/>
        </p:spPr>
        <p:txBody>
          <a:bodyPr/>
          <a:lstStyle/>
          <a:p>
            <a:r>
              <a:rPr lang="en-US" sz="3200" dirty="0" smtClean="0">
                <a:solidFill>
                  <a:schemeClr val="tx2"/>
                </a:solidFill>
                <a:latin typeface="Arial Narrow"/>
              </a:rPr>
              <a:t> Automation on Agile</a:t>
            </a:r>
            <a:endParaRPr lang="en-US" sz="3000" dirty="0" smtClean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gray">
          <a:xfrm>
            <a:off x="381000" y="2852173"/>
            <a:ext cx="1752600" cy="1110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18288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smtClean="0">
                <a:solidFill>
                  <a:schemeClr val="tx2"/>
                </a:solidFill>
                <a:latin typeface="Arial Narrow"/>
                <a:ea typeface="+mj-ea"/>
                <a:cs typeface="+mj-cs"/>
              </a:rPr>
              <a:t>Nov </a:t>
            </a: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Narrow"/>
                <a:ea typeface="+mj-ea"/>
                <a:cs typeface="+mj-cs"/>
              </a:rPr>
              <a:t>2014</a:t>
            </a: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4 Quadrants of Agile Testing 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The information contained in this presentation is proprietary. Copyright ©2014 Capgemini. All rights reserv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147050-0161-4A8B-8C65-9431945EA027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71575" y="1071545"/>
            <a:ext cx="7562850" cy="483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5" name="Diagram 14"/>
          <p:cNvGraphicFramePr/>
          <p:nvPr/>
        </p:nvGraphicFramePr>
        <p:xfrm>
          <a:off x="457200" y="4267200"/>
          <a:ext cx="1676400" cy="68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2" name="Diagram 11"/>
          <p:cNvGraphicFramePr/>
          <p:nvPr/>
        </p:nvGraphicFramePr>
        <p:xfrm>
          <a:off x="7239000" y="2057400"/>
          <a:ext cx="1676400" cy="68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3" name="Diagram 12"/>
          <p:cNvGraphicFramePr/>
          <p:nvPr/>
        </p:nvGraphicFramePr>
        <p:xfrm>
          <a:off x="7239000" y="4114800"/>
          <a:ext cx="1905000" cy="68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6" name="Diagram 15"/>
          <p:cNvGraphicFramePr/>
          <p:nvPr/>
        </p:nvGraphicFramePr>
        <p:xfrm>
          <a:off x="457200" y="2400300"/>
          <a:ext cx="1676400" cy="68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188686" y="1249362"/>
            <a:ext cx="9517289" cy="4846637"/>
          </a:xfrm>
        </p:spPr>
        <p:txBody>
          <a:bodyPr>
            <a:normAutofit fontScale="85000" lnSpcReduction="20000"/>
          </a:bodyPr>
          <a:lstStyle/>
          <a:p>
            <a:pPr>
              <a:buFont typeface="Wingdings" pitchFamily="2" charset="2"/>
              <a:buChar char="Ø"/>
            </a:pPr>
            <a:r>
              <a:rPr lang="en-US" dirty="0" smtClean="0"/>
              <a:t>  BDD is a software development </a:t>
            </a:r>
          </a:p>
          <a:p>
            <a:r>
              <a:rPr lang="en-US" dirty="0" smtClean="0"/>
              <a:t> </a:t>
            </a:r>
            <a:r>
              <a:rPr lang="en-US" dirty="0" smtClean="0"/>
              <a:t>process based  on test-driven develop</a:t>
            </a:r>
          </a:p>
          <a:p>
            <a:r>
              <a:rPr lang="en-US" dirty="0" smtClean="0"/>
              <a:t>-ment</a:t>
            </a:r>
            <a:r>
              <a:rPr lang="en-US" dirty="0" smtClean="0"/>
              <a:t>.</a:t>
            </a:r>
            <a:endParaRPr lang="en-US" dirty="0" smtClean="0"/>
          </a:p>
          <a:p>
            <a:pPr>
              <a:buFont typeface="Wingdings" pitchFamily="2" charset="2"/>
              <a:buChar char="Ø"/>
            </a:pPr>
            <a:r>
              <a:rPr lang="en-US" dirty="0" smtClean="0"/>
              <a:t> </a:t>
            </a:r>
            <a:r>
              <a:rPr lang="en-US" dirty="0" smtClean="0"/>
              <a:t>Behavior Driven Development </a:t>
            </a:r>
            <a:r>
              <a:rPr lang="en-US" dirty="0" smtClean="0"/>
              <a:t>mainly</a:t>
            </a:r>
          </a:p>
          <a:p>
            <a:r>
              <a:rPr lang="en-US" dirty="0" smtClean="0"/>
              <a:t> </a:t>
            </a:r>
            <a:r>
              <a:rPr lang="en-US" dirty="0" smtClean="0"/>
              <a:t>concentrates on </a:t>
            </a:r>
            <a:r>
              <a:rPr lang="en-US" dirty="0" smtClean="0"/>
              <a:t>specification.</a:t>
            </a:r>
          </a:p>
          <a:p>
            <a:pPr>
              <a:buFont typeface="Wingdings" pitchFamily="2" charset="2"/>
              <a:buChar char="Ø"/>
            </a:pPr>
            <a:r>
              <a:rPr lang="en-US" dirty="0" smtClean="0"/>
              <a:t> Therefore </a:t>
            </a:r>
            <a:r>
              <a:rPr lang="en-US" dirty="0" smtClean="0"/>
              <a:t>the focus is totally </a:t>
            </a:r>
            <a:r>
              <a:rPr lang="en-US" dirty="0" smtClean="0"/>
              <a:t>changed.</a:t>
            </a:r>
          </a:p>
          <a:p>
            <a:pPr>
              <a:buFont typeface="Wingdings" pitchFamily="2" charset="2"/>
              <a:buChar char="Ø"/>
            </a:pPr>
            <a:r>
              <a:rPr lang="en-US" dirty="0" smtClean="0"/>
              <a:t>we don't focus anymore on the </a:t>
            </a:r>
            <a:endParaRPr lang="en-US" dirty="0" smtClean="0"/>
          </a:p>
          <a:p>
            <a:r>
              <a:rPr lang="en-US" dirty="0" smtClean="0"/>
              <a:t>structure </a:t>
            </a:r>
            <a:r>
              <a:rPr lang="en-US" dirty="0" smtClean="0"/>
              <a:t>of the source code</a:t>
            </a:r>
            <a:r>
              <a:rPr lang="en-US" dirty="0" smtClean="0"/>
              <a:t>,</a:t>
            </a:r>
          </a:p>
          <a:p>
            <a:r>
              <a:rPr lang="en-US" dirty="0" smtClean="0"/>
              <a:t> </a:t>
            </a:r>
            <a:r>
              <a:rPr lang="en-US" dirty="0" smtClean="0"/>
              <a:t>the entire focus lies on the behavior </a:t>
            </a:r>
            <a:endParaRPr lang="en-US" dirty="0" smtClean="0"/>
          </a:p>
          <a:p>
            <a:r>
              <a:rPr lang="en-US" dirty="0" smtClean="0"/>
              <a:t>of </a:t>
            </a:r>
            <a:r>
              <a:rPr lang="en-US" dirty="0" smtClean="0"/>
              <a:t>the source code</a:t>
            </a:r>
            <a:r>
              <a:rPr lang="en-US" dirty="0" smtClean="0"/>
              <a:t>.</a:t>
            </a:r>
          </a:p>
          <a:p>
            <a:pPr>
              <a:buFont typeface="Wingdings" pitchFamily="2" charset="2"/>
              <a:buChar char="Ø"/>
            </a:pPr>
            <a:r>
              <a:rPr lang="en-US" dirty="0" smtClean="0"/>
              <a:t>It should be created in such a </a:t>
            </a:r>
            <a:r>
              <a:rPr lang="en-US" dirty="0" smtClean="0"/>
              <a:t>way</a:t>
            </a:r>
          </a:p>
          <a:p>
            <a:r>
              <a:rPr lang="en-US" dirty="0" smtClean="0"/>
              <a:t>that </a:t>
            </a:r>
            <a:r>
              <a:rPr lang="en-US" dirty="0" smtClean="0"/>
              <a:t>the behavior is precise</a:t>
            </a:r>
            <a:r>
              <a:rPr lang="en-US" dirty="0" smtClean="0"/>
              <a:t>,</a:t>
            </a:r>
          </a:p>
          <a:p>
            <a:r>
              <a:rPr lang="en-US" dirty="0" smtClean="0"/>
              <a:t> </a:t>
            </a:r>
            <a:r>
              <a:rPr lang="en-US" dirty="0" smtClean="0"/>
              <a:t>unambiguous and in an executable </a:t>
            </a:r>
            <a:r>
              <a:rPr lang="en-US" dirty="0" smtClean="0"/>
              <a:t>form.</a:t>
            </a:r>
          </a:p>
          <a:p>
            <a:endParaRPr lang="en-US" dirty="0" smtClean="0"/>
          </a:p>
          <a:p>
            <a:pPr>
              <a:buFont typeface="Wingdings" pitchFamily="2" charset="2"/>
              <a:buChar char="Ø"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BDD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The information contained in this presentation is proprietary. Copyright ©2014 Capgemini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147050-0161-4A8B-8C65-9431945EA027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6" name="Picture 5" descr="tddSteps (1).jpg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lum/>
          </a:blip>
          <a:stretch>
            <a:fillRect/>
          </a:stretch>
        </p:blipFill>
        <p:spPr>
          <a:xfrm>
            <a:off x="5739956" y="914400"/>
            <a:ext cx="4166044" cy="51816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cumber workflow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The information contained in this presentation is proprietary. Copyright ©2014 Capgemini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147050-0161-4A8B-8C65-9431945EA02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/>
        <p:txBody>
          <a:bodyPr>
            <a:normAutofit fontScale="92500" lnSpcReduction="20000"/>
          </a:bodyPr>
          <a:lstStyle/>
          <a:p>
            <a:pPr>
              <a:buFont typeface="Wingdings" pitchFamily="2" charset="2"/>
              <a:buChar char="Ø"/>
            </a:pPr>
            <a:r>
              <a:rPr lang="en-US" dirty="0" smtClean="0"/>
              <a:t> capybara  with selenium </a:t>
            </a:r>
          </a:p>
          <a:p>
            <a:r>
              <a:rPr lang="en-US" dirty="0" smtClean="0"/>
              <a:t>Will stimulate with all </a:t>
            </a:r>
          </a:p>
          <a:p>
            <a:r>
              <a:rPr lang="en-US" dirty="0" smtClean="0"/>
              <a:t>Head browsers for interaction.</a:t>
            </a:r>
          </a:p>
          <a:p>
            <a:pPr>
              <a:buFont typeface="Wingdings" pitchFamily="2" charset="2"/>
              <a:buChar char="Ø"/>
            </a:pPr>
            <a:r>
              <a:rPr lang="en-US" dirty="0" smtClean="0"/>
              <a:t> capybara with polytergeist</a:t>
            </a:r>
            <a:r>
              <a:rPr lang="en-US" dirty="0" smtClean="0"/>
              <a:t> </a:t>
            </a:r>
            <a:r>
              <a:rPr lang="en-US" dirty="0" smtClean="0"/>
              <a:t>will </a:t>
            </a:r>
            <a:endParaRPr lang="en-US" dirty="0" smtClean="0"/>
          </a:p>
          <a:p>
            <a:r>
              <a:rPr lang="en-US" dirty="0" smtClean="0"/>
              <a:t> stimulate with headless  browser that</a:t>
            </a:r>
          </a:p>
          <a:p>
            <a:r>
              <a:rPr lang="en-US" dirty="0" smtClean="0"/>
              <a:t> is phantomjs.</a:t>
            </a:r>
          </a:p>
          <a:p>
            <a:pPr>
              <a:buFont typeface="Wingdings" pitchFamily="2" charset="2"/>
              <a:buChar char="Ø"/>
            </a:pPr>
            <a:r>
              <a:rPr lang="en-US" dirty="0" smtClean="0"/>
              <a:t>Phantomjs is a great tool for </a:t>
            </a:r>
            <a:r>
              <a:rPr lang="en-US" dirty="0" smtClean="0"/>
              <a:t>end-</a:t>
            </a:r>
          </a:p>
          <a:p>
            <a:r>
              <a:rPr lang="en-US" dirty="0" smtClean="0"/>
              <a:t> to-end </a:t>
            </a:r>
            <a:r>
              <a:rPr lang="en-US" dirty="0" smtClean="0"/>
              <a:t>tests of your application</a:t>
            </a:r>
            <a:r>
              <a:rPr lang="en-US" dirty="0" smtClean="0"/>
              <a:t>.</a:t>
            </a:r>
          </a:p>
          <a:p>
            <a:pPr>
              <a:buFont typeface="Wingdings" pitchFamily="2" charset="2"/>
              <a:buChar char="Ø"/>
            </a:pPr>
            <a:r>
              <a:rPr lang="en-US" dirty="0" smtClean="0"/>
              <a:t> </a:t>
            </a:r>
            <a:r>
              <a:rPr lang="en-US" dirty="0" smtClean="0"/>
              <a:t>It provides a headless browser </a:t>
            </a:r>
            <a:endParaRPr lang="en-US" dirty="0" smtClean="0"/>
          </a:p>
          <a:p>
            <a:r>
              <a:rPr lang="en-US" dirty="0" smtClean="0"/>
              <a:t>based </a:t>
            </a:r>
            <a:r>
              <a:rPr lang="en-US" dirty="0" smtClean="0"/>
              <a:t>on webkit that allows </a:t>
            </a:r>
            <a:r>
              <a:rPr lang="en-US" dirty="0" smtClean="0"/>
              <a:t>your</a:t>
            </a:r>
          </a:p>
          <a:p>
            <a:r>
              <a:rPr lang="en-US" dirty="0" smtClean="0"/>
              <a:t> </a:t>
            </a:r>
            <a:r>
              <a:rPr lang="en-US" dirty="0" smtClean="0"/>
              <a:t>tests to navigate through the </a:t>
            </a:r>
            <a:endParaRPr lang="en-US" dirty="0" smtClean="0"/>
          </a:p>
          <a:p>
            <a:r>
              <a:rPr lang="en-US" dirty="0" smtClean="0"/>
              <a:t>web </a:t>
            </a:r>
            <a:r>
              <a:rPr lang="en-US" dirty="0" smtClean="0"/>
              <a:t>application.</a:t>
            </a:r>
          </a:p>
          <a:p>
            <a:pPr>
              <a:buFont typeface="Wingdings" pitchFamily="2" charset="2"/>
              <a:buChar char="Ø"/>
            </a:pPr>
            <a:endParaRPr lang="en-US" dirty="0" smtClean="0"/>
          </a:p>
        </p:txBody>
      </p:sp>
      <p:pic>
        <p:nvPicPr>
          <p:cNvPr id="10" name="Content Placeholder 5" descr="cucumber workflow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 bwMode="gray">
          <a:xfrm>
            <a:off x="5068205" y="1071545"/>
            <a:ext cx="4837795" cy="48768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roach to Automate BDD 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The information contained in this presentation is proprietary. Copyright ©2014 Capgemini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147050-0161-4A8B-8C65-9431945EA027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sz="quarter" idx="10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6883" y="1447800"/>
            <a:ext cx="9505950" cy="1867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6883" y="3581400"/>
            <a:ext cx="6572250" cy="191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10375" y="3581399"/>
            <a:ext cx="3095625" cy="191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610600" y="3581400"/>
            <a:ext cx="82088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sz="2000" dirty="0" smtClean="0"/>
              <a:t>Gherkin</a:t>
            </a:r>
            <a:endParaRPr lang="en-US" sz="2000" dirty="0" smtClean="0"/>
          </a:p>
          <a:p>
            <a:pPr lvl="2"/>
            <a:r>
              <a:rPr lang="en-US" sz="1400" dirty="0" smtClean="0"/>
              <a:t>is a Business Readable, Domain Specific Language created specifically for behavior descriptions. It gives you the ability to remove logic details from behavior tests. It originally came from Cucumber.</a:t>
            </a:r>
          </a:p>
          <a:p>
            <a:pPr lvl="2"/>
            <a:r>
              <a:rPr lang="en-US" sz="1400" dirty="0" smtClean="0"/>
              <a:t> Gherkin serves as your project’s documentation and automated tests</a:t>
            </a:r>
            <a:r>
              <a:rPr lang="en-US" sz="1400" dirty="0" smtClean="0"/>
              <a:t>.</a:t>
            </a:r>
          </a:p>
          <a:p>
            <a:pPr lvl="2"/>
            <a:r>
              <a:rPr lang="en-US" sz="1400" dirty="0" smtClean="0"/>
              <a:t>Gherkin is as a communication tool. It is close enough to natural language that both technical and non-technical people can </a:t>
            </a:r>
            <a:r>
              <a:rPr lang="en-US" sz="1400" dirty="0" smtClean="0"/>
              <a:t>collaborate.</a:t>
            </a:r>
            <a:endParaRPr lang="en-US" sz="1400" dirty="0" smtClean="0"/>
          </a:p>
          <a:p>
            <a:endParaRPr lang="en-US" sz="2000" dirty="0" smtClean="0"/>
          </a:p>
          <a:p>
            <a:r>
              <a:rPr lang="en-US" sz="2000" dirty="0" smtClean="0"/>
              <a:t>Capybara </a:t>
            </a:r>
          </a:p>
          <a:p>
            <a:pPr lvl="1">
              <a:buFont typeface="Arial" pitchFamily="34" charset="0"/>
              <a:buChar char="•"/>
            </a:pPr>
            <a:r>
              <a:rPr lang="en-US" sz="1400" dirty="0" smtClean="0"/>
              <a:t>Capybara is a library written in the Ruby programming language which makes it easy to simulate how a user interacts with your application.</a:t>
            </a:r>
          </a:p>
          <a:p>
            <a:pPr lvl="1">
              <a:buFont typeface="Arial" pitchFamily="34" charset="0"/>
              <a:buChar char="•"/>
            </a:pPr>
            <a:r>
              <a:rPr lang="en-US" sz="1400" dirty="0" smtClean="0"/>
              <a:t>Capybara can talk with many different drivers which execute your tests through the same clean and simple interface. </a:t>
            </a:r>
          </a:p>
          <a:p>
            <a:pPr lvl="1">
              <a:buFont typeface="Arial" pitchFamily="34" charset="0"/>
              <a:buChar char="•"/>
            </a:pPr>
            <a:r>
              <a:rPr lang="en-US" sz="1400" dirty="0" smtClean="0"/>
              <a:t>We can choose between Selenium, Webkit or pure Ruby drivers.</a:t>
            </a:r>
          </a:p>
          <a:p>
            <a:r>
              <a:rPr lang="en-US" dirty="0" smtClean="0"/>
              <a:t>Poltergeist</a:t>
            </a:r>
            <a:endParaRPr lang="en-US" dirty="0" smtClean="0"/>
          </a:p>
          <a:p>
            <a:r>
              <a:rPr lang="en-US" sz="1600" b="1" dirty="0" smtClean="0"/>
              <a:t> </a:t>
            </a:r>
            <a:r>
              <a:rPr lang="en-US" sz="1600" dirty="0" smtClean="0"/>
              <a:t>Poltergeist is a driver for Capybara that allows you to run your tests on a headless </a:t>
            </a:r>
            <a:r>
              <a:rPr lang="en-US" sz="1600" dirty="0" err="1" smtClean="0"/>
              <a:t>WebKit</a:t>
            </a:r>
            <a:r>
              <a:rPr lang="en-US" sz="1600" dirty="0" smtClean="0"/>
              <a:t> browser, provided by PhantomJS.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onents in the  our Framework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The information contained in this presentation is proprietary. Copyright ©2014 Capgemini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147050-0161-4A8B-8C65-9431945EA027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r>
              <a:rPr lang="en-US" sz="1600" dirty="0" smtClean="0"/>
              <a:t> 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amework structure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The information contained in this presentation is proprietary. Copyright ©2014 Capgemini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147050-0161-4A8B-8C65-9431945EA027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6" name="Picture 5" descr="download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828801" y="959277"/>
            <a:ext cx="5919596" cy="4679523"/>
          </a:xfrm>
          <a:prstGeom prst="rect">
            <a:avLst/>
          </a:prstGeom>
        </p:spPr>
      </p:pic>
    </p:spTree>
  </p:cSld>
  <p:clrMapOvr>
    <a:masterClrMapping/>
  </p:clrMapOvr>
  <p:transition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gemini Approach 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The information contained in this presentation is proprietary. Copyright ©2014 Capgemini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147050-0161-4A8B-8C65-9431945EA027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81000" y="2438400"/>
            <a:ext cx="4114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chemeClr val="tx1"/>
                </a:solidFill>
              </a:rPr>
              <a:t>Thank You.</a:t>
            </a:r>
            <a:endParaRPr lang="en-US" sz="3600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Testing TLI Template">
  <a:themeElements>
    <a:clrScheme name="Testing TLI">
      <a:dk1>
        <a:srgbClr val="000000"/>
      </a:dk1>
      <a:lt1>
        <a:srgbClr val="FFFFFF"/>
      </a:lt1>
      <a:dk2>
        <a:srgbClr val="004B66"/>
      </a:dk2>
      <a:lt2>
        <a:srgbClr val="FFFFFF"/>
      </a:lt2>
      <a:accent1>
        <a:srgbClr val="009BCC"/>
      </a:accent1>
      <a:accent2>
        <a:srgbClr val="FFC000"/>
      </a:accent2>
      <a:accent3>
        <a:srgbClr val="EE7D11"/>
      </a:accent3>
      <a:accent4>
        <a:srgbClr val="4D730F"/>
      </a:accent4>
      <a:accent5>
        <a:srgbClr val="80CBE6"/>
      </a:accent5>
      <a:accent6>
        <a:srgbClr val="8B6B4B"/>
      </a:accent6>
      <a:hlink>
        <a:srgbClr val="EE7D11"/>
      </a:hlink>
      <a:folHlink>
        <a:srgbClr val="8F143B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ppt_Template_White 1">
        <a:dk1>
          <a:srgbClr val="000000"/>
        </a:dk1>
        <a:lt1>
          <a:srgbClr val="ABE9FF"/>
        </a:lt1>
        <a:dk2>
          <a:srgbClr val="009BCC"/>
        </a:dk2>
        <a:lt2>
          <a:srgbClr val="FFFFFF"/>
        </a:lt2>
        <a:accent1>
          <a:srgbClr val="FDC71E"/>
        </a:accent1>
        <a:accent2>
          <a:srgbClr val="EE7D11"/>
        </a:accent2>
        <a:accent3>
          <a:srgbClr val="D2F2FF"/>
        </a:accent3>
        <a:accent4>
          <a:srgbClr val="000000"/>
        </a:accent4>
        <a:accent5>
          <a:srgbClr val="FEE0AB"/>
        </a:accent5>
        <a:accent6>
          <a:srgbClr val="D8710E"/>
        </a:accent6>
        <a:hlink>
          <a:srgbClr val="CBD300"/>
        </a:hlink>
        <a:folHlink>
          <a:srgbClr val="8F143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A7FDF102D1A0B4E9D82B82F3341D9A1" ma:contentTypeVersion="0" ma:contentTypeDescription="Create a new document." ma:contentTypeScope="" ma:versionID="ee68b39f9c76850829dc5298505b85b8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893654C6-5BD0-48BE-9525-02B2CC51B1F1}">
  <ds:schemaRefs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9A8EB602-5F74-4AD5-A5E7-512F4403A53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FA6549D-633F-4085-AC23-31A7EFEDEC8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sting TLI Template</Template>
  <TotalTime>4856</TotalTime>
  <Words>253</Words>
  <Application>Microsoft Office PowerPoint</Application>
  <PresentationFormat>A4 Paper (210x297 mm)</PresentationFormat>
  <Paragraphs>69</Paragraphs>
  <Slides>9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Testing TLI Template</vt:lpstr>
      <vt:lpstr> Automation on Agile</vt:lpstr>
      <vt:lpstr>4 Quadrants of Agile Testing </vt:lpstr>
      <vt:lpstr>About BDD</vt:lpstr>
      <vt:lpstr>Cucumber workflow</vt:lpstr>
      <vt:lpstr>Approach to Automate BDD </vt:lpstr>
      <vt:lpstr>Components in the  our Framework</vt:lpstr>
      <vt:lpstr>Framework structure </vt:lpstr>
      <vt:lpstr>Capgemini Approach </vt:lpstr>
      <vt:lpstr>Slide 8</vt:lpstr>
    </vt:vector>
  </TitlesOfParts>
  <Manager>Pradeep Singh</Manager>
  <Company>Capgemini Indi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Security Testing Services Deck FY 2012-13</dc:title>
  <dc:subject>Capgemini Security Testing Services Deck FY 2012-13</dc:subject>
  <dc:creator>Pradeep Singh</dc:creator>
  <cp:lastModifiedBy>kkiruban</cp:lastModifiedBy>
  <cp:revision>14</cp:revision>
  <dcterms:created xsi:type="dcterms:W3CDTF">2010-07-27T04:51:13Z</dcterms:created>
  <dcterms:modified xsi:type="dcterms:W3CDTF">2014-11-28T10:51:54Z</dcterms:modified>
  <cp:version>V1.0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A7FDF102D1A0B4E9D82B82F3341D9A1</vt:lpwstr>
  </property>
</Properties>
</file>